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4"/>
  </p:notesMasterIdLst>
  <p:sldIdLst>
    <p:sldId id="4483" r:id="rId3"/>
  </p:sldIdLst>
  <p:sldSz cx="6858000" cy="12192000"/>
  <p:notesSz cx="6858000" cy="91440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72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A6A1"/>
    <a:srgbClr val="A6A7A2"/>
    <a:srgbClr val="4F062A"/>
    <a:srgbClr val="EC014F"/>
    <a:srgbClr val="D90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75" d="100"/>
          <a:sy n="75" d="100"/>
        </p:scale>
        <p:origin x="276" y="528"/>
      </p:cViewPr>
      <p:guideLst>
        <p:guide orient="horz" pos="3772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419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EBEF11-B096-4614-A8D5-D5F033E4BA0E}" type="datetimeFigureOut">
              <a:rPr lang="es-419" smtClean="0"/>
              <a:t>17/2/2025</a:t>
            </a:fld>
            <a:endParaRPr lang="es-419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560638" y="1143000"/>
            <a:ext cx="17367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419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419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6A204-0868-481E-84EE-1462266D34AD}" type="slidenum">
              <a:rPr lang="es-419" smtClean="0"/>
              <a:t>‹#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9624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560638" y="1143000"/>
            <a:ext cx="1736725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8330C8-F4C9-44E0-B4BA-0D3CCF0726D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rFuture Sans" panose="020B0504020203020204"/>
                <a:ea typeface="+mn-ea"/>
                <a:cs typeface="+mn-cs"/>
                <a:sym typeface="ForFuture Sans" panose="020B0504020203020204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orFuture Sans" panose="020B0504020203020204"/>
              <a:ea typeface="+mn-ea"/>
              <a:cs typeface="+mn-cs"/>
              <a:sym typeface="ForFuture Sans" panose="020B0504020203020204"/>
            </a:endParaRPr>
          </a:p>
        </p:txBody>
      </p:sp>
    </p:spTree>
    <p:extLst>
      <p:ext uri="{BB962C8B-B14F-4D97-AF65-F5344CB8AC3E}">
        <p14:creationId xmlns:p14="http://schemas.microsoft.com/office/powerpoint/2010/main" val="66923267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2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3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3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2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2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2.emf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ásica Vertic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291DFA51-6511-631D-F379-685288D5A3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24664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1DFA51-6511-631D-F379-685288D5A3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4">
            <a:extLst>
              <a:ext uri="{FF2B5EF4-FFF2-40B4-BE49-F238E27FC236}">
                <a16:creationId xmlns:a16="http://schemas.microsoft.com/office/drawing/2014/main" id="{577E5E6C-D9DB-ED7C-0600-8465764AD8D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FFFFFF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687C114-EE87-78BC-77C3-CDE55BA66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922AE115-C66B-D068-77E8-F90C8C0E4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150252AF-B351-9CBC-106E-A4731D81B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614D5A6-CCD6-5B77-B55E-0710DBBE9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0677440"/>
            <a:ext cx="249827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3026048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 baseline="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DC3C8287-5B9F-50A0-7603-D07C988C7F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29000" y="671689"/>
            <a:ext cx="3219153" cy="10848622"/>
          </a:xfrm>
          <a:prstGeom prst="snip2DiagRect">
            <a:avLst>
              <a:gd name="adj1" fmla="val 2485"/>
              <a:gd name="adj2" fmla="val 2287"/>
            </a:avLst>
          </a:prstGeom>
        </p:spPr>
        <p:txBody>
          <a:bodyPr numCol="1" anchor="ctr"/>
          <a:lstStyle>
            <a:lvl1pPr marL="0" indent="0" algn="ctr">
              <a:buNone/>
              <a:defRPr sz="1600"/>
            </a:lvl1pPr>
          </a:lstStyle>
          <a:p>
            <a:r>
              <a:rPr lang="es-ES"/>
              <a:t>Haga clic en el icono para agregar una imagen</a:t>
            </a:r>
            <a:endParaRPr lang="en-ES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01DA8E-4DCA-561C-AAF0-4CB9F1602C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3026048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188641" y="10832527"/>
            <a:ext cx="2309635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</p:spTree>
    <p:extLst>
      <p:ext uri="{BB962C8B-B14F-4D97-AF65-F5344CB8AC3E}">
        <p14:creationId xmlns:p14="http://schemas.microsoft.com/office/powerpoint/2010/main" val="420913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ásic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37AF584-F906-D98A-AFEC-228720181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7743240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7AF584-F906-D98A-AFEC-228720181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>
            <a:extLst>
              <a:ext uri="{FF2B5EF4-FFF2-40B4-BE49-F238E27FC236}">
                <a16:creationId xmlns:a16="http://schemas.microsoft.com/office/drawing/2014/main" id="{07DC0D3C-122E-75C2-2E15-2045BAE53BE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97377" y="11213564"/>
            <a:ext cx="1071983" cy="322820"/>
            <a:chOff x="680" y="1856"/>
            <a:chExt cx="6318" cy="602"/>
          </a:xfrm>
          <a:solidFill>
            <a:srgbClr val="FFFFFF"/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8986C46-3601-64EC-29FF-F19F1C2EF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3F47427C-B3F2-B109-7971-D57014016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906C6FD1-F167-27F8-4C1B-B41D9CE38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522FDCA3-D06F-6C71-2915-A97D0857815D}"/>
              </a:ext>
            </a:extLst>
          </p:cNvPr>
          <p:cNvCxnSpPr/>
          <p:nvPr userDrawn="1"/>
        </p:nvCxnSpPr>
        <p:spPr>
          <a:xfrm>
            <a:off x="4281616" y="0"/>
            <a:ext cx="0" cy="1219200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reeform 9">
            <a:extLst>
              <a:ext uri="{FF2B5EF4-FFF2-40B4-BE49-F238E27FC236}">
                <a16:creationId xmlns:a16="http://schemas.microsoft.com/office/drawing/2014/main" id="{52A6889A-005F-AA8D-AEC9-848421764060}"/>
              </a:ext>
            </a:extLst>
          </p:cNvPr>
          <p:cNvSpPr/>
          <p:nvPr userDrawn="1"/>
        </p:nvSpPr>
        <p:spPr>
          <a:xfrm>
            <a:off x="188640" y="674668"/>
            <a:ext cx="6437315" cy="5226725"/>
          </a:xfrm>
          <a:custGeom>
            <a:avLst/>
            <a:gdLst>
              <a:gd name="connsiteX0" fmla="*/ 95367 w 8583086"/>
              <a:gd name="connsiteY0" fmla="*/ 0 h 2205025"/>
              <a:gd name="connsiteX1" fmla="*/ 8487719 w 8583086"/>
              <a:gd name="connsiteY1" fmla="*/ 0 h 2205025"/>
              <a:gd name="connsiteX2" fmla="*/ 8583086 w 8583086"/>
              <a:gd name="connsiteY2" fmla="*/ 95367 h 2205025"/>
              <a:gd name="connsiteX3" fmla="*/ 8583086 w 8583086"/>
              <a:gd name="connsiteY3" fmla="*/ 2109657 h 2205025"/>
              <a:gd name="connsiteX4" fmla="*/ 8487719 w 8583086"/>
              <a:gd name="connsiteY4" fmla="*/ 2205025 h 2205025"/>
              <a:gd name="connsiteX5" fmla="*/ 95367 w 8583086"/>
              <a:gd name="connsiteY5" fmla="*/ 2205025 h 2205025"/>
              <a:gd name="connsiteX6" fmla="*/ 0 w 8583086"/>
              <a:gd name="connsiteY6" fmla="*/ 2109657 h 2205025"/>
              <a:gd name="connsiteX7" fmla="*/ 0 w 8583086"/>
              <a:gd name="connsiteY7" fmla="*/ 95367 h 220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83086" h="2205025">
                <a:moveTo>
                  <a:pt x="95367" y="0"/>
                </a:moveTo>
                <a:lnTo>
                  <a:pt x="8487719" y="0"/>
                </a:lnTo>
                <a:lnTo>
                  <a:pt x="8583086" y="95367"/>
                </a:lnTo>
                <a:lnTo>
                  <a:pt x="8583086" y="2109657"/>
                </a:lnTo>
                <a:lnTo>
                  <a:pt x="8487719" y="2205025"/>
                </a:lnTo>
                <a:lnTo>
                  <a:pt x="95367" y="2205025"/>
                </a:lnTo>
                <a:lnTo>
                  <a:pt x="0" y="2109657"/>
                </a:lnTo>
                <a:lnTo>
                  <a:pt x="0" y="95367"/>
                </a:ln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endParaRPr lang="en-GB" sz="3200" noProof="1"/>
          </a:p>
        </p:txBody>
      </p:sp>
      <p:sp>
        <p:nvSpPr>
          <p:cNvPr id="11" name="Título 10"/>
          <p:cNvSpPr>
            <a:spLocks noGrp="1"/>
          </p:cNvSpPr>
          <p:nvPr>
            <p:ph type="title" hasCustomPrompt="1"/>
          </p:nvPr>
        </p:nvSpPr>
        <p:spPr>
          <a:xfrm>
            <a:off x="471488" y="674666"/>
            <a:ext cx="5915025" cy="5226725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lnSpc>
                <a:spcPct val="85000"/>
              </a:lnSpc>
              <a:defRPr sz="8000"/>
            </a:lvl1pPr>
          </a:lstStyle>
          <a:p>
            <a:r>
              <a:rPr lang="es-ES" dirty="0"/>
              <a:t>Título estándar</a:t>
            </a:r>
          </a:p>
        </p:txBody>
      </p:sp>
    </p:spTree>
    <p:extLst>
      <p:ext uri="{BB962C8B-B14F-4D97-AF65-F5344CB8AC3E}">
        <p14:creationId xmlns:p14="http://schemas.microsoft.com/office/powerpoint/2010/main" val="2959790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Leg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0"/>
          <p:cNvSpPr txBox="1"/>
          <p:nvPr userDrawn="1"/>
        </p:nvSpPr>
        <p:spPr>
          <a:xfrm>
            <a:off x="424401" y="4200972"/>
            <a:ext cx="6009200" cy="5933440"/>
          </a:xfrm>
          <a:prstGeom prst="rect">
            <a:avLst/>
          </a:prstGeom>
        </p:spPr>
        <p:txBody>
          <a:bodyPr vert="horz" wrap="square" lIns="0" tIns="7312" rIns="0" bIns="0" numCol="2" spcCol="360000" rtlCol="0">
            <a:noAutofit/>
          </a:bodyPr>
          <a:lstStyle/>
          <a:p>
            <a:pPr marL="7696" algn="l">
              <a:lnSpc>
                <a:spcPct val="110000"/>
              </a:lnSpc>
              <a:spcBef>
                <a:spcPts val="0"/>
              </a:spcBef>
              <a:spcAft>
                <a:spcPts val="1300"/>
              </a:spcAft>
            </a:pPr>
            <a:r>
              <a:rPr lang="es-ES" sz="1100" dirty="0">
                <a:solidFill>
                  <a:srgbClr val="5A5A5A"/>
                </a:solidFill>
                <a:cs typeface="Trebuchet MS"/>
              </a:rPr>
              <a:t>Toda la información contenida en el presente documento y sus anexos, tiene carácter confidencial, y sólo puede ser utilizada con el fin de ser evaluada por el destinatario (sea cliente, proveedor, colaborador, </a:t>
            </a:r>
            <a:r>
              <a:rPr lang="es-ES" sz="1100" dirty="0" err="1">
                <a:solidFill>
                  <a:srgbClr val="5A5A5A"/>
                </a:solidFill>
                <a:cs typeface="Trebuchet MS"/>
              </a:rPr>
              <a:t>partner</a:t>
            </a:r>
            <a:r>
              <a:rPr lang="es-ES" sz="1100" dirty="0">
                <a:solidFill>
                  <a:srgbClr val="5A5A5A"/>
                </a:solidFill>
                <a:cs typeface="Trebuchet MS"/>
              </a:rPr>
              <a:t>, etc.) de la misma y a los solos efectos de conducir los tratos comerciales, o de otra naturaleza, que motivan el envío del documento (en lo sucesivo, el “Propósito”).</a:t>
            </a:r>
          </a:p>
          <a:p>
            <a:pPr marL="7696" algn="l">
              <a:lnSpc>
                <a:spcPct val="110000"/>
              </a:lnSpc>
              <a:spcBef>
                <a:spcPts val="0"/>
              </a:spcBef>
              <a:spcAft>
                <a:spcPts val="1300"/>
              </a:spcAft>
            </a:pPr>
            <a:r>
              <a:rPr lang="es-ES" sz="1100" dirty="0">
                <a:solidFill>
                  <a:srgbClr val="5A5A5A"/>
                </a:solidFill>
                <a:cs typeface="Trebuchet MS"/>
              </a:rPr>
              <a:t>La información aquí presentada es propiedad de </a:t>
            </a:r>
            <a:r>
              <a:rPr lang="es-ES" sz="1100" dirty="0" err="1">
                <a:solidFill>
                  <a:srgbClr val="5A5A5A"/>
                </a:solidFill>
                <a:cs typeface="Trebuchet MS"/>
              </a:rPr>
              <a:t>Ia</a:t>
            </a:r>
            <a:r>
              <a:rPr lang="es-ES" sz="1100" dirty="0">
                <a:solidFill>
                  <a:srgbClr val="5A5A5A"/>
                </a:solidFill>
                <a:cs typeface="Trebuchet MS"/>
              </a:rPr>
              <a:t> sociedad del grupo controlado por Indra Sistemas, S.A. que suscribe el presente documento (en lo sucesivo, “Indra”), y es constitutiva de secreto empresarial (también denominado en determinadas jurisdicciones, secreto comercial), y además, puede estar protegida por derechos de autor, derechos afines, patente, modelo de utilidad y/o diseño industrial por lo que queda terminantemente prohibida su divulgación y/o transmisión a terceros sin el permiso previo, expreso y por escrito de Indra.</a:t>
            </a:r>
          </a:p>
          <a:p>
            <a:pPr marL="7696" algn="l">
              <a:lnSpc>
                <a:spcPct val="110000"/>
              </a:lnSpc>
              <a:spcBef>
                <a:spcPts val="0"/>
              </a:spcBef>
              <a:spcAft>
                <a:spcPts val="1300"/>
              </a:spcAft>
            </a:pPr>
            <a:r>
              <a:rPr lang="es-ES" sz="1100" dirty="0">
                <a:solidFill>
                  <a:srgbClr val="5A5A5A"/>
                </a:solidFill>
                <a:cs typeface="Trebuchet MS"/>
              </a:rPr>
              <a:t>Se limitará al máximo el acceso a la información confidencial por parte del personal del destinatario de la misma, o del personal de aquellos terceros a los que Indra haya autorizado a acceder a la información confidencial, limitándose únicamente a aquellas personas cuyo acceso resulte estrictamente necesario, y debiendo el destinatario de la información confidencial garantizar que informa a dichas personas del carácter confidencial y propietario de la información así como del Propósito, asegurando que dicho personal trata la información confidencial única y exclusivamente para el Propósito, y absteniéndose de toda divulgación. Una vez finalizado o concluido el Propósito, el cliente debe restituir a Indra toda la información confidencial sin conservar ninguna copia de la misma, no pudiendo utilizar de ninguna manera, ni para ningún fin la información confidencial y/o propietaria facilitada por Indra salvo que haya sido autorizado para ello previa y expresamente por escrito por Indra.</a:t>
            </a:r>
          </a:p>
          <a:p>
            <a:pPr marL="7696" algn="l">
              <a:lnSpc>
                <a:spcPct val="110000"/>
              </a:lnSpc>
              <a:spcBef>
                <a:spcPts val="0"/>
              </a:spcBef>
              <a:spcAft>
                <a:spcPts val="1300"/>
              </a:spcAft>
            </a:pPr>
            <a:r>
              <a:rPr lang="es-ES" sz="1100" dirty="0">
                <a:solidFill>
                  <a:srgbClr val="5A5A5A"/>
                </a:solidFill>
                <a:cs typeface="Trebuchet MS"/>
              </a:rPr>
              <a:t>El destinatario de la información confidencial, después de finalizado el Propósito, no podrá utilizar de ninguna manera ni para ningún fin la información confidencial y/o propietaria facilitada por Indra.</a:t>
            </a:r>
          </a:p>
          <a:p>
            <a:pPr marL="7696" algn="l">
              <a:lnSpc>
                <a:spcPct val="110000"/>
              </a:lnSpc>
              <a:spcBef>
                <a:spcPts val="0"/>
              </a:spcBef>
              <a:spcAft>
                <a:spcPts val="1300"/>
              </a:spcAft>
            </a:pPr>
            <a:r>
              <a:rPr lang="es-ES" sz="1100" dirty="0">
                <a:solidFill>
                  <a:srgbClr val="5A5A5A"/>
                </a:solidFill>
                <a:cs typeface="Trebuchet MS"/>
              </a:rPr>
              <a:t>Copyright © 202</a:t>
            </a:r>
            <a:r>
              <a:rPr lang="es-ES" sz="1100" baseline="0" dirty="0">
                <a:solidFill>
                  <a:srgbClr val="5A5A5A"/>
                </a:solidFill>
                <a:cs typeface="Trebuchet MS"/>
              </a:rPr>
              <a:t>    </a:t>
            </a:r>
            <a:r>
              <a:rPr lang="es-ES" sz="1100" dirty="0">
                <a:solidFill>
                  <a:srgbClr val="5A5A5A"/>
                </a:solidFill>
                <a:cs typeface="Trebuchet MS"/>
              </a:rPr>
              <a:t>Indra. Todos los derechos reservados. España</a:t>
            </a:r>
          </a:p>
        </p:txBody>
      </p:sp>
      <p:cxnSp>
        <p:nvCxnSpPr>
          <p:cNvPr id="16" name="Straight Connector 1">
            <a:extLst>
              <a:ext uri="{FF2B5EF4-FFF2-40B4-BE49-F238E27FC236}">
                <a16:creationId xmlns:a16="http://schemas.microsoft.com/office/drawing/2014/main" id="{2614D5A6-CCD6-5B77-B55E-0710DBBE9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1088512"/>
            <a:ext cx="3428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Marcador de texto 23"/>
          <p:cNvSpPr>
            <a:spLocks noGrp="1"/>
          </p:cNvSpPr>
          <p:nvPr>
            <p:ph type="body" sz="quarter" idx="10" hasCustomPrompt="1"/>
          </p:nvPr>
        </p:nvSpPr>
        <p:spPr>
          <a:xfrm>
            <a:off x="4153733" y="9728252"/>
            <a:ext cx="68580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rgbClr val="5A5A5A"/>
                </a:solidFill>
              </a:defRPr>
            </a:lvl1pPr>
            <a:lvl2pPr marL="354013" indent="0">
              <a:buNone/>
              <a:defRPr sz="1400"/>
            </a:lvl2pPr>
            <a:lvl3pPr marL="719137" indent="0">
              <a:buNone/>
              <a:defRPr sz="1200"/>
            </a:lvl3pPr>
            <a:lvl4pPr marL="1073150" indent="0">
              <a:buNone/>
              <a:defRPr sz="1100"/>
            </a:lvl4pPr>
            <a:lvl5pPr marL="1436688" indent="0">
              <a:buNone/>
              <a:defRPr sz="1100"/>
            </a:lvl5pPr>
          </a:lstStyle>
          <a:p>
            <a:pPr lvl="0"/>
            <a:r>
              <a:rPr lang="es-ES" dirty="0"/>
              <a:t>x</a:t>
            </a:r>
          </a:p>
        </p:txBody>
      </p:sp>
      <p:sp>
        <p:nvSpPr>
          <p:cNvPr id="27" name="Marcador de texto 23"/>
          <p:cNvSpPr>
            <a:spLocks noGrp="1"/>
          </p:cNvSpPr>
          <p:nvPr>
            <p:ph type="body" sz="quarter" idx="11" hasCustomPrompt="1"/>
          </p:nvPr>
        </p:nvSpPr>
        <p:spPr>
          <a:xfrm>
            <a:off x="4153733" y="10263671"/>
            <a:ext cx="140982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 baseline="0">
                <a:solidFill>
                  <a:schemeClr val="tx1"/>
                </a:solidFill>
              </a:defRPr>
            </a:lvl1pPr>
            <a:lvl2pPr marL="354013" indent="0">
              <a:buNone/>
              <a:defRPr sz="1400"/>
            </a:lvl2pPr>
            <a:lvl3pPr marL="719137" indent="0">
              <a:buNone/>
              <a:defRPr sz="1200"/>
            </a:lvl3pPr>
            <a:lvl4pPr marL="1073150" indent="0">
              <a:buNone/>
              <a:defRPr sz="1100"/>
            </a:lvl4pPr>
            <a:lvl5pPr marL="1436688" indent="0">
              <a:buNone/>
              <a:defRPr sz="1100"/>
            </a:lvl5pPr>
          </a:lstStyle>
          <a:p>
            <a:pPr lvl="0"/>
            <a:r>
              <a:rPr lang="es-ES" dirty="0"/>
              <a:t>x: Añade el año en curso correspondiente y borra esta leyenda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521EC024-E203-D47C-E015-A86B377E29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2E26F17-7588-EB7A-2432-D75B0B6AE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3BEC7372-FDFE-0B4D-0335-AB0006D07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99470B01-F8F8-98C3-12B4-C43CD50744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</p:spTree>
    <p:extLst>
      <p:ext uri="{BB962C8B-B14F-4D97-AF65-F5344CB8AC3E}">
        <p14:creationId xmlns:p14="http://schemas.microsoft.com/office/powerpoint/2010/main" val="2903142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Índice - Lar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BFD3B7F-D198-C256-B710-12E874535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81917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08" imgH="408" progId="TCLayout.ActiveDocument.1">
                  <p:embed/>
                </p:oleObj>
              </mc:Choice>
              <mc:Fallback>
                <p:oleObj name="Diapositiva de think-cell" r:id="rId3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FD3B7F-D198-C256-B710-12E874535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4C574F8-EB51-6C1D-992A-D100DB6400D2}"/>
              </a:ext>
            </a:extLst>
          </p:cNvPr>
          <p:cNvCxnSpPr>
            <a:cxnSpLocks/>
          </p:cNvCxnSpPr>
          <p:nvPr userDrawn="1"/>
        </p:nvCxnSpPr>
        <p:spPr>
          <a:xfrm flipV="1">
            <a:off x="188640" y="0"/>
            <a:ext cx="0" cy="10560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2330D61-7406-FD4B-8387-5FFD5F53DB4B}"/>
              </a:ext>
            </a:extLst>
          </p:cNvPr>
          <p:cNvCxnSpPr>
            <a:cxnSpLocks/>
          </p:cNvCxnSpPr>
          <p:nvPr userDrawn="1"/>
        </p:nvCxnSpPr>
        <p:spPr>
          <a:xfrm flipV="1">
            <a:off x="2375883" y="0"/>
            <a:ext cx="0" cy="10560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804DA53-ABCE-8B3F-8A78-C75EFB417890}"/>
              </a:ext>
            </a:extLst>
          </p:cNvPr>
          <p:cNvCxnSpPr>
            <a:cxnSpLocks/>
          </p:cNvCxnSpPr>
          <p:nvPr userDrawn="1"/>
        </p:nvCxnSpPr>
        <p:spPr>
          <a:xfrm flipV="1">
            <a:off x="4441613" y="0"/>
            <a:ext cx="0" cy="10560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F26EEC-0020-0C86-2DF5-24EC7311C6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649" y="1416666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1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1DB0F80E-8162-FAD4-EBDF-AEF08722C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649" y="3598778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2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40C11C35-38FB-AD08-6300-1DABA045F1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649" y="5736954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3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2A0B644C-DE96-3324-906B-1D86FAD3D4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649" y="7933711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4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CFDB9CC-EEDA-1464-D070-38298816DA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56892" y="1416666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5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3E6BDC40-8B07-44FA-94FA-BE03063BD7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56892" y="3598778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6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DAE16205-E178-5D19-7A9E-D5D1C0C2DA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56892" y="5736954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7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2ECF5A5E-2767-C8CC-7F70-69FF83596A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56892" y="7933711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8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C8E863FA-111C-8652-3E8D-5FA8973B26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3448" y="1416666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-20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9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E252F4E7-C057-8265-2AFF-DD9E6402EB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3448" y="3598778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10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1C071B54-C34C-81FC-8886-0AB96E569E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3448" y="5736954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11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89441B5A-C5B0-3CF8-4A72-32AED17D68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33448" y="7933711"/>
            <a:ext cx="596741" cy="1457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6400" spc="0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12</a:t>
            </a:r>
          </a:p>
        </p:txBody>
      </p:sp>
      <p:sp>
        <p:nvSpPr>
          <p:cNvPr id="56" name="Text Placeholder 29">
            <a:extLst>
              <a:ext uri="{FF2B5EF4-FFF2-40B4-BE49-F238E27FC236}">
                <a16:creationId xmlns:a16="http://schemas.microsoft.com/office/drawing/2014/main" id="{A8D8D8B9-84E4-A5EF-F781-F6C079126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8226" y="1732571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58" name="Text Placeholder 29">
            <a:extLst>
              <a:ext uri="{FF2B5EF4-FFF2-40B4-BE49-F238E27FC236}">
                <a16:creationId xmlns:a16="http://schemas.microsoft.com/office/drawing/2014/main" id="{C13947E4-99B4-7AAC-D4E2-44B058ADA5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45469" y="1732571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1" name="Text Placeholder 29">
            <a:extLst>
              <a:ext uri="{FF2B5EF4-FFF2-40B4-BE49-F238E27FC236}">
                <a16:creationId xmlns:a16="http://schemas.microsoft.com/office/drawing/2014/main" id="{BDE6CC3C-373A-B999-5D79-FFCFAFEB7F1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1684" y="1732571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2" name="Text Placeholder 29">
            <a:extLst>
              <a:ext uri="{FF2B5EF4-FFF2-40B4-BE49-F238E27FC236}">
                <a16:creationId xmlns:a16="http://schemas.microsoft.com/office/drawing/2014/main" id="{6DB00DA2-69CE-BC0C-DDEC-418E42272E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8226" y="3895173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3" name="Text Placeholder 29">
            <a:extLst>
              <a:ext uri="{FF2B5EF4-FFF2-40B4-BE49-F238E27FC236}">
                <a16:creationId xmlns:a16="http://schemas.microsoft.com/office/drawing/2014/main" id="{D703D0F6-7A49-B8AD-09E8-BCA907FA30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45469" y="3895173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4" name="Text Placeholder 29">
            <a:extLst>
              <a:ext uri="{FF2B5EF4-FFF2-40B4-BE49-F238E27FC236}">
                <a16:creationId xmlns:a16="http://schemas.microsoft.com/office/drawing/2014/main" id="{83C73E6B-5B9D-5213-4965-03CBE1E10B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31684" y="3895173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5" name="Text Placeholder 29">
            <a:extLst>
              <a:ext uri="{FF2B5EF4-FFF2-40B4-BE49-F238E27FC236}">
                <a16:creationId xmlns:a16="http://schemas.microsoft.com/office/drawing/2014/main" id="{19298D4F-2241-442E-E7CB-91F49188044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8226" y="6057776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6" name="Text Placeholder 29">
            <a:extLst>
              <a:ext uri="{FF2B5EF4-FFF2-40B4-BE49-F238E27FC236}">
                <a16:creationId xmlns:a16="http://schemas.microsoft.com/office/drawing/2014/main" id="{4C527113-8DC6-9092-73E3-D528F18FE19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45469" y="6057776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7" name="Text Placeholder 29">
            <a:extLst>
              <a:ext uri="{FF2B5EF4-FFF2-40B4-BE49-F238E27FC236}">
                <a16:creationId xmlns:a16="http://schemas.microsoft.com/office/drawing/2014/main" id="{B25D650E-E87E-D127-E5BD-1E0387F71E5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1684" y="6057776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8" name="Text Placeholder 29">
            <a:extLst>
              <a:ext uri="{FF2B5EF4-FFF2-40B4-BE49-F238E27FC236}">
                <a16:creationId xmlns:a16="http://schemas.microsoft.com/office/drawing/2014/main" id="{C847FB7D-9A35-446B-1889-B65B833601C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8226" y="8220381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9" name="Text Placeholder 29">
            <a:extLst>
              <a:ext uri="{FF2B5EF4-FFF2-40B4-BE49-F238E27FC236}">
                <a16:creationId xmlns:a16="http://schemas.microsoft.com/office/drawing/2014/main" id="{8F3BF73A-DEC0-5BB6-527D-9A16E2C35EA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45469" y="8220381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70" name="Text Placeholder 29">
            <a:extLst>
              <a:ext uri="{FF2B5EF4-FFF2-40B4-BE49-F238E27FC236}">
                <a16:creationId xmlns:a16="http://schemas.microsoft.com/office/drawing/2014/main" id="{6135C823-B0CF-87E9-1E61-97A2FA3D88B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1684" y="8220381"/>
            <a:ext cx="1005015" cy="15889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696" marR="0" indent="0" algn="l" defTabSz="914377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  <a:lvl2pPr marL="457189" indent="0">
              <a:buNone/>
              <a:defRPr sz="800"/>
            </a:lvl2pPr>
            <a:lvl3pPr marL="914377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41" name="Marcador de pie de página 7">
            <a:extLst>
              <a:ext uri="{FF2B5EF4-FFF2-40B4-BE49-F238E27FC236}">
                <a16:creationId xmlns:a16="http://schemas.microsoft.com/office/drawing/2014/main" id="{D020836E-5240-E79E-F678-BC71B69F2325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8640" y="11476223"/>
            <a:ext cx="407865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>
              <a:defRPr sz="8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</a:lstStyle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76426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ase - Gris Cerám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85DC005-36C0-38A2-3494-F02FC1BCC4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7654703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08" imgH="408" progId="TCLayout.ActiveDocument.1">
                  <p:embed/>
                </p:oleObj>
              </mc:Choice>
              <mc:Fallback>
                <p:oleObj name="Diapositiva de think-cell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5DC005-36C0-38A2-3494-F02FC1BCC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88640" y="976491"/>
            <a:ext cx="6480944" cy="1552220"/>
          </a:xfrm>
        </p:spPr>
        <p:txBody>
          <a:bodyPr vert="horz"/>
          <a:lstStyle>
            <a:lvl1pPr>
              <a:defRPr>
                <a:latin typeface="ForFuture Sans" panose="020B0504020203020204"/>
                <a:sym typeface="ForFuture Sans" panose="020B0504020203020204"/>
              </a:defRPr>
            </a:lvl1pPr>
          </a:lstStyle>
          <a:p>
            <a:r>
              <a:rPr lang="es-ES" dirty="0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ForFuture Sans" panose="020B0504020203020204"/>
                <a:sym typeface="ForFuture Sans" panose="020B0504020203020204"/>
              </a:defRPr>
            </a:lvl1pPr>
          </a:lstStyle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8640" y="2660468"/>
            <a:ext cx="6480944" cy="924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</a:lstStyle>
          <a:p>
            <a:pPr lvl="0"/>
            <a:r>
              <a:rPr lang="en-GB" noProof="1"/>
              <a:t>Subtítulo de la diapositiva</a:t>
            </a:r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5"/>
          </p:nvPr>
        </p:nvSpPr>
        <p:spPr>
          <a:xfrm>
            <a:off x="188417" y="4000590"/>
            <a:ext cx="6481167" cy="6376156"/>
          </a:xfrm>
        </p:spPr>
        <p:txBody>
          <a:bodyPr/>
          <a:lstStyle>
            <a:lvl1pPr>
              <a:defRPr sz="1300">
                <a:latin typeface="ForFuture Sans" panose="020B0504020203020204"/>
                <a:sym typeface="ForFuture Sans" panose="020B0504020203020204"/>
              </a:defRPr>
            </a:lvl1pPr>
            <a:lvl2pPr>
              <a:defRPr sz="1300">
                <a:latin typeface="ForFuture Sans" panose="020B0504020203020204"/>
                <a:sym typeface="ForFuture Sans" panose="020B0504020203020204"/>
              </a:defRPr>
            </a:lvl2pPr>
            <a:lvl3pPr>
              <a:defRPr sz="1300">
                <a:latin typeface="ForFuture Sans" panose="020B0504020203020204"/>
                <a:sym typeface="ForFuture Sans" panose="020B0504020203020204"/>
              </a:defRPr>
            </a:lvl3pPr>
            <a:lvl4pPr>
              <a:defRPr sz="1300">
                <a:latin typeface="ForFuture Sans" panose="020B0504020203020204"/>
                <a:sym typeface="ForFuture Sans" panose="020B0504020203020204"/>
              </a:defRPr>
            </a:lvl4pPr>
            <a:lvl5pPr>
              <a:defRPr sz="1300">
                <a:latin typeface="ForFuture Sans" panose="020B0504020203020204"/>
                <a:sym typeface="ForFuture Sans" panose="020B0504020203020204"/>
              </a:defRPr>
            </a:lvl5pPr>
          </a:lstStyle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8640" y="575197"/>
            <a:ext cx="6480944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  <a:latin typeface="ForFuture Sans" panose="020B0504020203020204"/>
                <a:sym typeface="ForFuture Sans" panose="020B0504020203020204"/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10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orFuture Sans" panose="020B0504020203020204"/>
                <a:sym typeface="ForFuture Sans" panose="020B0504020203020204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orFuture Sans" panose="020B0504020203020204"/>
              <a:sym typeface="ForFuture Sans" panose="020B0504020203020204"/>
            </a:endParaRPr>
          </a:p>
        </p:txBody>
      </p:sp>
    </p:spTree>
    <p:extLst>
      <p:ext uri="{BB962C8B-B14F-4D97-AF65-F5344CB8AC3E}">
        <p14:creationId xmlns:p14="http://schemas.microsoft.com/office/powerpoint/2010/main" val="15400212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uno -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BC4F57C-C3B2-8856-DCBF-70626E5BE6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0881345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C4F57C-C3B2-8856-DCBF-70626E5BE6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>
            <a:extLst>
              <a:ext uri="{FF2B5EF4-FFF2-40B4-BE49-F238E27FC236}">
                <a16:creationId xmlns:a16="http://schemas.microsoft.com/office/drawing/2014/main" id="{A4B71E07-4EAE-A8CA-E274-DBB05B68680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614942" y="5851972"/>
            <a:ext cx="1620685" cy="488057"/>
            <a:chOff x="680" y="1856"/>
            <a:chExt cx="6318" cy="602"/>
          </a:xfrm>
          <a:solidFill>
            <a:srgbClr val="FFFFFF"/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1A83CF97-6947-7D0C-429B-BE64BA641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969D8490-50CA-66DB-7BBC-9951359F0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091DC011-863F-6C21-0E09-A994C0662E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4278D4A9-BBB4-D604-0FE2-75E13402D617}"/>
              </a:ext>
            </a:extLst>
          </p:cNvPr>
          <p:cNvSpPr/>
          <p:nvPr userDrawn="1"/>
        </p:nvSpPr>
        <p:spPr>
          <a:xfrm>
            <a:off x="6466839" y="11222239"/>
            <a:ext cx="174741" cy="3141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1"/>
          </a:p>
        </p:txBody>
      </p:sp>
    </p:spTree>
    <p:extLst>
      <p:ext uri="{BB962C8B-B14F-4D97-AF65-F5344CB8AC3E}">
        <p14:creationId xmlns:p14="http://schemas.microsoft.com/office/powerpoint/2010/main" val="32366782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a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AC589BE-C7ED-FFDF-45BE-6D021BB1F2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2587" y="349765"/>
            <a:ext cx="1337145" cy="3033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4200">
                <a:solidFill>
                  <a:schemeClr val="accent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GB" noProof="1"/>
              <a:t>00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19C3BA-8391-1145-3463-BCF1F39D971C}"/>
              </a:ext>
            </a:extLst>
          </p:cNvPr>
          <p:cNvCxnSpPr>
            <a:cxnSpLocks/>
          </p:cNvCxnSpPr>
          <p:nvPr userDrawn="1"/>
        </p:nvCxnSpPr>
        <p:spPr>
          <a:xfrm flipV="1">
            <a:off x="5364319" y="1"/>
            <a:ext cx="0" cy="10738857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671407D-3B9B-FF8A-37EA-30EE0C518B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654756"/>
            <a:ext cx="4881666" cy="25594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1"/>
              <a:t>Título de separata principal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8C8A5741-4FF6-86D0-90BB-0EC0EAEF3C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640" y="3279688"/>
            <a:ext cx="4881666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1"/>
              <a:t>Subtítulo de separata principal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1CDFAF28-3BE3-EF12-BFFA-0C292B7FDA3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97377" y="11213564"/>
            <a:ext cx="1071983" cy="322820"/>
            <a:chOff x="680" y="1856"/>
            <a:chExt cx="6318" cy="602"/>
          </a:xfrm>
          <a:solidFill>
            <a:srgbClr val="FFFFFF"/>
          </a:solidFill>
        </p:grpSpPr>
        <p:sp>
          <p:nvSpPr>
            <p:cNvPr id="3" name="Freeform 6">
              <a:extLst>
                <a:ext uri="{FF2B5EF4-FFF2-40B4-BE49-F238E27FC236}">
                  <a16:creationId xmlns:a16="http://schemas.microsoft.com/office/drawing/2014/main" id="{0EC02127-9AC3-A7BA-DB8C-D1274E12B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4" name="Freeform 7">
              <a:extLst>
                <a:ext uri="{FF2B5EF4-FFF2-40B4-BE49-F238E27FC236}">
                  <a16:creationId xmlns:a16="http://schemas.microsoft.com/office/drawing/2014/main" id="{05BFE8A2-ACDF-E117-B810-929FD09A3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8808699D-C225-09BB-32CB-45775BF5EC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</p:spTree>
    <p:extLst>
      <p:ext uri="{BB962C8B-B14F-4D97-AF65-F5344CB8AC3E}">
        <p14:creationId xmlns:p14="http://schemas.microsoft.com/office/powerpoint/2010/main" val="3586166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se - Gris Cerám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88640" y="975431"/>
            <a:ext cx="6480944" cy="1552220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 dirty="0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8640" y="575198"/>
            <a:ext cx="6480944" cy="1590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10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189984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s Cerámica + Subtítulo Sup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88640" y="976491"/>
            <a:ext cx="3094446" cy="1299349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 dirty="0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8640" y="575197"/>
            <a:ext cx="3094446" cy="1590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1775" y="976488"/>
            <a:ext cx="3177585" cy="129935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Subtítulo de diapositiva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5416989-4658-652B-A6F7-145BFB90D09B}"/>
              </a:ext>
            </a:extLst>
          </p:cNvPr>
          <p:cNvCxnSpPr/>
          <p:nvPr userDrawn="1"/>
        </p:nvCxnSpPr>
        <p:spPr>
          <a:xfrm>
            <a:off x="3429000" y="0"/>
            <a:ext cx="0" cy="227584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3323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se - Prun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88640" y="976488"/>
            <a:ext cx="6480944" cy="1200290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 dirty="0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8640" y="575198"/>
            <a:ext cx="6480944" cy="1590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12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73943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uno + Subtítulo Superi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88640" y="976491"/>
            <a:ext cx="3094446" cy="1301908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 dirty="0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8640" y="575197"/>
            <a:ext cx="3094446" cy="1590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1775" y="976489"/>
            <a:ext cx="3177585" cy="130190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Subtítulo de diapositiva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5416989-4658-652B-A6F7-145BFB90D09B}"/>
              </a:ext>
            </a:extLst>
          </p:cNvPr>
          <p:cNvCxnSpPr/>
          <p:nvPr userDrawn="1"/>
        </p:nvCxnSpPr>
        <p:spPr>
          <a:xfrm>
            <a:off x="3429000" y="-2"/>
            <a:ext cx="0" cy="22784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586482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ásica Horiz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4820036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729EC3F-FBBD-2EB8-EF8F-CD5F770552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4820036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DC3C8287-5B9F-50A0-7603-D07C988C7F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8640" y="6096001"/>
            <a:ext cx="6438577" cy="5441872"/>
          </a:xfrm>
          <a:prstGeom prst="snip2DiagRect">
            <a:avLst>
              <a:gd name="adj1" fmla="val 4498"/>
              <a:gd name="adj2" fmla="val 4301"/>
            </a:avLst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s-ES"/>
              <a:t>Haga clic en el icono para agregar una imagen</a:t>
            </a:r>
            <a:endParaRPr lang="en-ES" dirty="0"/>
          </a:p>
        </p:txBody>
      </p:sp>
      <p:sp>
        <p:nvSpPr>
          <p:cNvPr id="11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46256" y="4938245"/>
            <a:ext cx="1223328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F2CC7314-AE4B-5986-810D-A600540122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FFFFFF"/>
          </a:solidFill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5BFFACFD-C24C-DA69-D524-6A734329E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8272E5BC-617A-A567-29AD-CA10D3345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2B0596E8-F81E-2389-F4B7-F470C22B44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</p:spTree>
    <p:extLst>
      <p:ext uri="{BB962C8B-B14F-4D97-AF65-F5344CB8AC3E}">
        <p14:creationId xmlns:p14="http://schemas.microsoft.com/office/powerpoint/2010/main" val="3585217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40" userDrawn="1">
          <p15:clr>
            <a:srgbClr val="FBAE40"/>
          </p15:clr>
        </p15:guide>
        <p15:guide id="4" pos="4201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se - Pruno Oscur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88640" y="976488"/>
            <a:ext cx="6480944" cy="1200290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 dirty="0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8640" y="575198"/>
            <a:ext cx="6480944" cy="1590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12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82810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uno Oscuro + Subtítulo Superi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88640" y="976491"/>
            <a:ext cx="3094446" cy="1301908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" dirty="0"/>
              <a:t>Título estándar para diapositiva base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8640" y="575197"/>
            <a:ext cx="3094446" cy="1590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ANTETÍTULO DE DIAPOSITIVA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60FFBBE-ADBD-0E1A-7872-BCD0D7AE3C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1775" y="976489"/>
            <a:ext cx="3177585" cy="130190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Subtítulo de diapositiva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5416989-4658-652B-A6F7-145BFB90D09B}"/>
              </a:ext>
            </a:extLst>
          </p:cNvPr>
          <p:cNvCxnSpPr/>
          <p:nvPr userDrawn="1"/>
        </p:nvCxnSpPr>
        <p:spPr>
          <a:xfrm>
            <a:off x="3429000" y="-2"/>
            <a:ext cx="0" cy="22784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80597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uno + Full Imag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1A9EE3D-B4AD-8855-3152-4DC56FBFF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643771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A9EE3D-B4AD-8855-3152-4DC56FBFF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>
            <a:extLst>
              <a:ext uri="{FF2B5EF4-FFF2-40B4-BE49-F238E27FC236}">
                <a16:creationId xmlns:a16="http://schemas.microsoft.com/office/drawing/2014/main" id="{862C30EB-A8A5-ADC7-EAE0-6E3C27C4CF2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97377" y="11213564"/>
            <a:ext cx="1071983" cy="322820"/>
            <a:chOff x="680" y="1856"/>
            <a:chExt cx="6318" cy="602"/>
          </a:xfrm>
          <a:solidFill>
            <a:srgbClr val="FFFFFF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53E28BB8-EFBC-52F9-B7FB-3904A5B46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7DA0257D-61DE-5AD4-72B6-82A1E3FA0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C6541784-BE2F-DB99-E8DE-42C957AC0C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A8945F7-44C2-5054-86AD-347769EFB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8640" y="615598"/>
            <a:ext cx="6480944" cy="10241493"/>
          </a:xfrm>
          <a:prstGeom prst="snip2DiagRect">
            <a:avLst>
              <a:gd name="adj1" fmla="val 2160"/>
              <a:gd name="adj2" fmla="val 2121"/>
            </a:avLst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GB" noProof="1"/>
              <a:t>Haga clic en el icono para agregar una imagen</a:t>
            </a:r>
          </a:p>
        </p:txBody>
      </p:sp>
      <p:sp>
        <p:nvSpPr>
          <p:cNvPr id="8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188640" y="11476223"/>
            <a:ext cx="4078650" cy="123111"/>
          </a:xfrm>
        </p:spPr>
        <p:txBody>
          <a:bodyPr>
            <a:spAutoFit/>
          </a:bodyPr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66885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s Cerámica + Full Image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D6E8E78-C3CA-7998-A02A-FCE5AF19F3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505616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6E8E78-C3CA-7998-A02A-FCE5AF19F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A8945F7-44C2-5054-86AD-347769EFB5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8640" y="615598"/>
            <a:ext cx="6480944" cy="10241493"/>
          </a:xfrm>
          <a:prstGeom prst="snip2DiagRect">
            <a:avLst>
              <a:gd name="adj1" fmla="val 2160"/>
              <a:gd name="adj2" fmla="val 2121"/>
            </a:avLst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GB" noProof="1"/>
              <a:t>Haga clic en el icono para agregar una imagen</a:t>
            </a:r>
          </a:p>
        </p:txBody>
      </p:sp>
      <p:sp>
        <p:nvSpPr>
          <p:cNvPr id="8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188640" y="11476223"/>
            <a:ext cx="4078650" cy="123111"/>
          </a:xfrm>
        </p:spPr>
        <p:txBody>
          <a:bodyPr>
            <a:spAutoFit/>
          </a:bodyPr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A1A089FD-E00A-F388-7AE9-A468F894F7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97377" y="11213564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473D308-E059-A9EE-4D01-C9615B91E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2585270A-17FB-64B2-247F-FA6D39495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DD7B5994-B1B2-7562-2AB4-760726B85A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</p:spTree>
    <p:extLst>
      <p:ext uri="{BB962C8B-B14F-4D97-AF65-F5344CB8AC3E}">
        <p14:creationId xmlns:p14="http://schemas.microsoft.com/office/powerpoint/2010/main" val="768949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-Siz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3534483-BFEA-6F98-4C59-C1E0C00033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58000" cy="1219200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GB" noProof="1"/>
              <a:t>Haga clic en el icono para agregar una imagen</a:t>
            </a: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EC4A452-E1E1-0A97-D33D-DFD97CAED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8640" y="11476223"/>
            <a:ext cx="4078650" cy="12311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6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476223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87442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ací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568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Full-imag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ción de imagen 10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6857999" cy="12192000"/>
          </a:xfrm>
          <a:prstGeom prst="rect">
            <a:avLst/>
          </a:prstGeom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r>
              <a:rPr lang="es-ES" noProof="1"/>
              <a:t>Haga clic en el icono para agregar una imagen</a:t>
            </a:r>
            <a:endParaRPr lang="en-GB" noProof="1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614D5A6-CCD6-5B77-B55E-0710DBBE9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0677440"/>
            <a:ext cx="2498275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3026048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 baseline="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01DA8E-4DCA-561C-AAF0-4CB9F1602C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3026048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826DD72-FCB9-3430-42AE-29D810D39E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FFFFFF"/>
          </a:solidFill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65CB662-CD06-B20F-1443-958621E0B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4F6380FD-BFCE-485E-0148-7EE4A1B65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989F77-A7CA-ACB0-EADA-D40C85C13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sp>
        <p:nvSpPr>
          <p:cNvPr id="16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188641" y="10832527"/>
            <a:ext cx="2309635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</p:spTree>
    <p:extLst>
      <p:ext uri="{BB962C8B-B14F-4D97-AF65-F5344CB8AC3E}">
        <p14:creationId xmlns:p14="http://schemas.microsoft.com/office/powerpoint/2010/main" val="1916718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ásica Vertical + Partn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3FBB448-0E33-2ED1-32F5-03BAC2A9FF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22503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FBB448-0E33-2ED1-32F5-03BAC2A9F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614D5A6-CCD6-5B77-B55E-0710DBBE9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0677440"/>
            <a:ext cx="2498275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3026048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 baseline="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01DA8E-4DCA-561C-AAF0-4CB9F1602C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3026048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188641" y="10832527"/>
            <a:ext cx="2309635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883320C-893C-E852-65DA-C4DBC29EEBA0}"/>
              </a:ext>
            </a:extLst>
          </p:cNvPr>
          <p:cNvSpPr/>
          <p:nvPr userDrawn="1"/>
        </p:nvSpPr>
        <p:spPr>
          <a:xfrm>
            <a:off x="0" y="1"/>
            <a:ext cx="6858000" cy="16420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 sz="180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2E03B155-9745-4D76-F827-B29342B77C2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0" y="2438966"/>
            <a:ext cx="3219153" cy="9078524"/>
          </a:xfrm>
          <a:custGeom>
            <a:avLst/>
            <a:gdLst>
              <a:gd name="connsiteX0" fmla="*/ 142215 w 5722938"/>
              <a:gd name="connsiteY0" fmla="*/ 0 h 5106670"/>
              <a:gd name="connsiteX1" fmla="*/ 5592054 w 5722938"/>
              <a:gd name="connsiteY1" fmla="*/ 0 h 5106670"/>
              <a:gd name="connsiteX2" fmla="*/ 5722938 w 5722938"/>
              <a:gd name="connsiteY2" fmla="*/ 130884 h 5106670"/>
              <a:gd name="connsiteX3" fmla="*/ 5722938 w 5722938"/>
              <a:gd name="connsiteY3" fmla="*/ 4964455 h 5106670"/>
              <a:gd name="connsiteX4" fmla="*/ 5580723 w 5722938"/>
              <a:gd name="connsiteY4" fmla="*/ 5106670 h 5106670"/>
              <a:gd name="connsiteX5" fmla="*/ 130884 w 5722938"/>
              <a:gd name="connsiteY5" fmla="*/ 5106670 h 5106670"/>
              <a:gd name="connsiteX6" fmla="*/ 0 w 5722938"/>
              <a:gd name="connsiteY6" fmla="*/ 4975786 h 5106670"/>
              <a:gd name="connsiteX7" fmla="*/ 0 w 5722938"/>
              <a:gd name="connsiteY7" fmla="*/ 142215 h 5106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22938" h="5106670">
                <a:moveTo>
                  <a:pt x="142215" y="0"/>
                </a:moveTo>
                <a:lnTo>
                  <a:pt x="5592054" y="0"/>
                </a:lnTo>
                <a:lnTo>
                  <a:pt x="5722938" y="130884"/>
                </a:lnTo>
                <a:lnTo>
                  <a:pt x="5722938" y="4964455"/>
                </a:lnTo>
                <a:lnTo>
                  <a:pt x="5580723" y="5106670"/>
                </a:lnTo>
                <a:lnTo>
                  <a:pt x="130884" y="5106670"/>
                </a:lnTo>
                <a:lnTo>
                  <a:pt x="0" y="4975786"/>
                </a:lnTo>
                <a:lnTo>
                  <a:pt x="0" y="14221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s-ES"/>
              <a:t>Haga clic en el icono para agregar una imagen</a:t>
            </a:r>
            <a:endParaRPr lang="en-ES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0FBD55B4-140C-7456-1BC3-86CD933BB40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7D332FC-6A20-A9D0-5C9F-20F7B4D8A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75C7ECAD-9CA2-123D-7353-80249DEDF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080D7414-4554-459C-6E9C-754C7DA637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cxnSp>
        <p:nvCxnSpPr>
          <p:cNvPr id="15" name="Straight Connector 7">
            <a:extLst>
              <a:ext uri="{FF2B5EF4-FFF2-40B4-BE49-F238E27FC236}">
                <a16:creationId xmlns:a16="http://schemas.microsoft.com/office/drawing/2014/main" id="{155DDFC6-975F-AC2F-AEFA-C2739FEBDBCA}"/>
              </a:ext>
            </a:extLst>
          </p:cNvPr>
          <p:cNvCxnSpPr>
            <a:cxnSpLocks/>
          </p:cNvCxnSpPr>
          <p:nvPr userDrawn="1"/>
        </p:nvCxnSpPr>
        <p:spPr>
          <a:xfrm>
            <a:off x="1363271" y="652809"/>
            <a:ext cx="0" cy="34133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0322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ásica Horizontal + Partn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4820036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729EC3F-FBBD-2EB8-EF8F-CD5F770552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4820036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DC3C8287-5B9F-50A0-7603-D07C988C7F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8640" y="6096001"/>
            <a:ext cx="6438577" cy="5441872"/>
          </a:xfrm>
          <a:prstGeom prst="snip2DiagRect">
            <a:avLst>
              <a:gd name="adj1" fmla="val 4498"/>
              <a:gd name="adj2" fmla="val 4301"/>
            </a:avLst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s-ES"/>
              <a:t>Haga clic en el icono para agregar una imagen</a:t>
            </a:r>
            <a:endParaRPr lang="en-E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F6E7793-F4AD-4D48-CDD8-12B4EAAD501D}"/>
              </a:ext>
            </a:extLst>
          </p:cNvPr>
          <p:cNvCxnSpPr/>
          <p:nvPr userDrawn="1"/>
        </p:nvCxnSpPr>
        <p:spPr>
          <a:xfrm flipV="1">
            <a:off x="5364319" y="15473"/>
            <a:ext cx="0" cy="5441691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46256" y="4938245"/>
            <a:ext cx="1223328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3883320C-893C-E852-65DA-C4DBC29EEBA0}"/>
              </a:ext>
            </a:extLst>
          </p:cNvPr>
          <p:cNvSpPr/>
          <p:nvPr userDrawn="1"/>
        </p:nvSpPr>
        <p:spPr>
          <a:xfrm>
            <a:off x="0" y="1"/>
            <a:ext cx="6858000" cy="16420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 sz="18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876BB5D-747B-7C77-8307-1EEEAD69E80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1CE22AC1-F60D-365D-D9A2-0B091EDBF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AF721FF6-1E20-381B-2650-68AC786D7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A0EF3E3D-48A5-25E4-68F2-57B9329BD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9BD5AFBE-BBAB-6BC5-3118-5814EBDFD8DF}"/>
              </a:ext>
            </a:extLst>
          </p:cNvPr>
          <p:cNvCxnSpPr>
            <a:cxnSpLocks/>
          </p:cNvCxnSpPr>
          <p:nvPr userDrawn="1"/>
        </p:nvCxnSpPr>
        <p:spPr>
          <a:xfrm>
            <a:off x="1363271" y="652809"/>
            <a:ext cx="0" cy="34133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9679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Full-imagen + Partn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ción de imagen 10"/>
          <p:cNvSpPr>
            <a:spLocks noGrp="1"/>
          </p:cNvSpPr>
          <p:nvPr>
            <p:ph type="pic" sz="quarter" idx="12"/>
          </p:nvPr>
        </p:nvSpPr>
        <p:spPr>
          <a:xfrm>
            <a:off x="1" y="1632732"/>
            <a:ext cx="6857999" cy="10559269"/>
          </a:xfrm>
          <a:prstGeom prst="rect">
            <a:avLst/>
          </a:prstGeom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r>
              <a:rPr lang="es-ES" noProof="1"/>
              <a:t>Haga clic en el icono para agregar una imagen</a:t>
            </a:r>
            <a:endParaRPr lang="en-GB" noProof="1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614D5A6-CCD6-5B77-B55E-0710DBBE9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0677440"/>
            <a:ext cx="2498275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3026048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 baseline="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01DA8E-4DCA-561C-AAF0-4CB9F1602C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3026048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188641" y="10832527"/>
            <a:ext cx="2309635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D08C88-A673-9AE6-7745-987630069D92}"/>
              </a:ext>
            </a:extLst>
          </p:cNvPr>
          <p:cNvSpPr/>
          <p:nvPr userDrawn="1"/>
        </p:nvSpPr>
        <p:spPr>
          <a:xfrm>
            <a:off x="0" y="1"/>
            <a:ext cx="6858000" cy="16420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S" sz="180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17062E2E-E819-B6B0-B5A0-049C8A9B8F9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3FAFFEA-532F-5085-BA03-B95FE3342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3DF7A9C4-D683-BE71-0298-7618B4BF4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0ACE1276-95F7-26BF-BF3A-37EE766929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cxnSp>
        <p:nvCxnSpPr>
          <p:cNvPr id="13" name="Straight Connector 7">
            <a:extLst>
              <a:ext uri="{FF2B5EF4-FFF2-40B4-BE49-F238E27FC236}">
                <a16:creationId xmlns:a16="http://schemas.microsoft.com/office/drawing/2014/main" id="{C1DB79AA-8ED1-74B4-0AC1-CB3929D86F48}"/>
              </a:ext>
            </a:extLst>
          </p:cNvPr>
          <p:cNvCxnSpPr>
            <a:cxnSpLocks/>
          </p:cNvCxnSpPr>
          <p:nvPr userDrawn="1"/>
        </p:nvCxnSpPr>
        <p:spPr>
          <a:xfrm>
            <a:off x="1363271" y="652809"/>
            <a:ext cx="0" cy="34133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9288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ásica Vertical - Client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614D5A6-CCD6-5B77-B55E-0710DBBE9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0677440"/>
            <a:ext cx="249827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3026048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 baseline="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DC3C8287-5B9F-50A0-7603-D07C988C7F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29000" y="671689"/>
            <a:ext cx="3219153" cy="10848622"/>
          </a:xfrm>
          <a:prstGeom prst="snip2DiagRect">
            <a:avLst>
              <a:gd name="adj1" fmla="val 2485"/>
              <a:gd name="adj2" fmla="val 2287"/>
            </a:avLst>
          </a:prstGeom>
        </p:spPr>
        <p:txBody>
          <a:bodyPr numCol="1" anchor="ctr"/>
          <a:lstStyle>
            <a:lvl1pPr marL="0" indent="0" algn="ctr">
              <a:buNone/>
              <a:defRPr sz="1600"/>
            </a:lvl1pPr>
          </a:lstStyle>
          <a:p>
            <a:r>
              <a:rPr lang="es-ES"/>
              <a:t>Haga clic en el icono para agregar una imagen</a:t>
            </a:r>
            <a:endParaRPr lang="en-ES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01DA8E-4DCA-561C-AAF0-4CB9F1602C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3026048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188641" y="10832527"/>
            <a:ext cx="2309635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CD3FEEC0-6BF0-D8A9-FD01-069027A4DC7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84E15E50-3CAF-E59F-CD63-A52547285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7770926-6F48-5D83-09C6-2965B34AD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2A85DEFD-99BC-EDBE-0F3E-CBD818D7A7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</p:spTree>
    <p:extLst>
      <p:ext uri="{BB962C8B-B14F-4D97-AF65-F5344CB8AC3E}">
        <p14:creationId xmlns:p14="http://schemas.microsoft.com/office/powerpoint/2010/main" val="3156211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ásica Horizontal - Client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F09A93-F137-C7EB-0C29-E3B246304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8113897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6" progId="TCLayout.ActiveDocument.1">
                  <p:embed/>
                </p:oleObj>
              </mc:Choice>
              <mc:Fallback>
                <p:oleObj name="Diapositiva de think-cell" r:id="rId3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F09A93-F137-C7EB-0C29-E3B246304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>
            <a:extLst>
              <a:ext uri="{FF2B5EF4-FFF2-40B4-BE49-F238E27FC236}">
                <a16:creationId xmlns:a16="http://schemas.microsoft.com/office/drawing/2014/main" id="{1560FD1C-AF98-17DE-5A4D-5FFF37C3DC8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048574AB-EACF-9702-8CEE-022A4C1E4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E98DDC1D-D1A0-DA29-100E-C7E734C4F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BD9CC0E1-DBF0-D7A4-0CD2-16E1E76A32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4820036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729EC3F-FBBD-2EB8-EF8F-CD5F770552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4820036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DC3C8287-5B9F-50A0-7603-D07C988C7F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8640" y="6096001"/>
            <a:ext cx="6438577" cy="5441872"/>
          </a:xfrm>
          <a:prstGeom prst="snip2DiagRect">
            <a:avLst>
              <a:gd name="adj1" fmla="val 4498"/>
              <a:gd name="adj2" fmla="val 4301"/>
            </a:avLst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s-ES"/>
              <a:t>Haga clic en el icono para agregar una imagen</a:t>
            </a:r>
            <a:endParaRPr lang="en-E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F6E7793-F4AD-4D48-CDD8-12B4EAAD501D}"/>
              </a:ext>
            </a:extLst>
          </p:cNvPr>
          <p:cNvCxnSpPr/>
          <p:nvPr userDrawn="1"/>
        </p:nvCxnSpPr>
        <p:spPr>
          <a:xfrm flipV="1">
            <a:off x="5364319" y="15473"/>
            <a:ext cx="0" cy="544169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46256" y="4938245"/>
            <a:ext cx="1223328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</p:spTree>
    <p:extLst>
      <p:ext uri="{BB962C8B-B14F-4D97-AF65-F5344CB8AC3E}">
        <p14:creationId xmlns:p14="http://schemas.microsoft.com/office/powerpoint/2010/main" val="1408482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Full-imagen - Client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ción de imagen 10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6857999" cy="12192000"/>
          </a:xfrm>
          <a:prstGeom prst="rect">
            <a:avLst/>
          </a:prstGeom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r>
              <a:rPr lang="es-ES" noProof="1"/>
              <a:t>Haga clic en el icono para agregar una imagen</a:t>
            </a:r>
            <a:endParaRPr lang="en-GB" noProof="1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614D5A6-CCD6-5B77-B55E-0710DBBE9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0677440"/>
            <a:ext cx="249827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1B6A7A01-378E-17A1-B3FA-589BC5B3C5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8640" y="2511602"/>
            <a:ext cx="3026048" cy="24948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4800" baseline="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r>
              <a:rPr lang="en-GB" dirty="0"/>
              <a:t> de la </a:t>
            </a:r>
            <a:r>
              <a:rPr lang="en-GB" dirty="0" err="1"/>
              <a:t>presentación</a:t>
            </a:r>
            <a:endParaRPr lang="en-ES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6401DA8E-4DCA-561C-AAF0-4CB9F1602C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8640" y="5052238"/>
            <a:ext cx="3026048" cy="915749"/>
          </a:xfrm>
          <a:prstGeom prst="rect">
            <a:avLst/>
          </a:prstGeom>
        </p:spPr>
        <p:txBody>
          <a:bodyPr lIns="7200" tIns="720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4800">
                <a:solidFill>
                  <a:schemeClr val="tx2"/>
                </a:solidFill>
              </a:defRPr>
            </a:lvl2pPr>
            <a:lvl3pPr marL="914377" indent="0">
              <a:buNone/>
              <a:defRPr sz="4800">
                <a:solidFill>
                  <a:schemeClr val="tx2"/>
                </a:solidFill>
              </a:defRPr>
            </a:lvl3pPr>
            <a:lvl4pPr marL="1371566" indent="0">
              <a:buNone/>
              <a:defRPr sz="4800">
                <a:solidFill>
                  <a:schemeClr val="tx2"/>
                </a:solidFill>
              </a:defRPr>
            </a:lvl4pPr>
            <a:lvl5pPr marL="1828755" indent="0">
              <a:buNone/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subtítulo</a:t>
            </a:r>
            <a:endParaRPr lang="en-ES" dirty="0"/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188641" y="10832527"/>
            <a:ext cx="2309635" cy="64911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tx1"/>
                </a:solidFill>
              </a:defRPr>
            </a:lvl1pPr>
            <a:lvl2pPr marL="354013" indent="0">
              <a:buNone/>
              <a:defRPr/>
            </a:lvl2pPr>
            <a:lvl3pPr marL="719137" indent="0">
              <a:buNone/>
              <a:defRPr/>
            </a:lvl3pPr>
            <a:lvl4pPr marL="1073150" indent="0">
              <a:buNone/>
              <a:defRPr/>
            </a:lvl4pPr>
            <a:lvl5pPr marL="1436688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F2ECB113-1CE7-4D21-4545-6CBA4DEDEBF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89483" y="662386"/>
            <a:ext cx="1071983" cy="322820"/>
            <a:chOff x="680" y="1856"/>
            <a:chExt cx="6318" cy="602"/>
          </a:xfrm>
          <a:solidFill>
            <a:srgbClr val="4F062A"/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0A7B9E1-BF57-712B-D9CB-A20AB6C6F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2202"/>
              <a:ext cx="1122" cy="256"/>
            </a:xfrm>
            <a:custGeom>
              <a:avLst/>
              <a:gdLst>
                <a:gd name="T0" fmla="*/ 0 w 1126"/>
                <a:gd name="T1" fmla="*/ 248 h 257"/>
                <a:gd name="T2" fmla="*/ 33 w 1126"/>
                <a:gd name="T3" fmla="*/ 257 h 257"/>
                <a:gd name="T4" fmla="*/ 563 w 1126"/>
                <a:gd name="T5" fmla="*/ 124 h 257"/>
                <a:gd name="T6" fmla="*/ 1093 w 1126"/>
                <a:gd name="T7" fmla="*/ 257 h 257"/>
                <a:gd name="T8" fmla="*/ 1126 w 1126"/>
                <a:gd name="T9" fmla="*/ 248 h 257"/>
                <a:gd name="T10" fmla="*/ 563 w 1126"/>
                <a:gd name="T11" fmla="*/ 0 h 257"/>
                <a:gd name="T12" fmla="*/ 0 w 1126"/>
                <a:gd name="T13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0" y="248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33" y="257"/>
                    <a:pt x="439" y="133"/>
                    <a:pt x="563" y="124"/>
                  </a:cubicBezTo>
                  <a:cubicBezTo>
                    <a:pt x="687" y="133"/>
                    <a:pt x="1093" y="257"/>
                    <a:pt x="1093" y="257"/>
                  </a:cubicBezTo>
                  <a:cubicBezTo>
                    <a:pt x="1126" y="248"/>
                    <a:pt x="1126" y="248"/>
                    <a:pt x="1126" y="248"/>
                  </a:cubicBezTo>
                  <a:cubicBezTo>
                    <a:pt x="1126" y="248"/>
                    <a:pt x="773" y="5"/>
                    <a:pt x="563" y="0"/>
                  </a:cubicBezTo>
                  <a:cubicBezTo>
                    <a:pt x="353" y="5"/>
                    <a:pt x="0" y="248"/>
                    <a:pt x="0" y="2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27DB1C79-A731-55F7-1430-70576233F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" y="1856"/>
              <a:ext cx="1122" cy="256"/>
            </a:xfrm>
            <a:custGeom>
              <a:avLst/>
              <a:gdLst>
                <a:gd name="T0" fmla="*/ 1126 w 1126"/>
                <a:gd name="T1" fmla="*/ 9 h 257"/>
                <a:gd name="T2" fmla="*/ 1093 w 1126"/>
                <a:gd name="T3" fmla="*/ 0 h 257"/>
                <a:gd name="T4" fmla="*/ 563 w 1126"/>
                <a:gd name="T5" fmla="*/ 133 h 257"/>
                <a:gd name="T6" fmla="*/ 33 w 1126"/>
                <a:gd name="T7" fmla="*/ 0 h 257"/>
                <a:gd name="T8" fmla="*/ 0 w 1126"/>
                <a:gd name="T9" fmla="*/ 9 h 257"/>
                <a:gd name="T10" fmla="*/ 563 w 1126"/>
                <a:gd name="T11" fmla="*/ 257 h 257"/>
                <a:gd name="T12" fmla="*/ 1126 w 1126"/>
                <a:gd name="T13" fmla="*/ 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257">
                  <a:moveTo>
                    <a:pt x="1126" y="9"/>
                  </a:moveTo>
                  <a:cubicBezTo>
                    <a:pt x="1093" y="0"/>
                    <a:pt x="1093" y="0"/>
                    <a:pt x="1093" y="0"/>
                  </a:cubicBezTo>
                  <a:cubicBezTo>
                    <a:pt x="1093" y="0"/>
                    <a:pt x="687" y="124"/>
                    <a:pt x="563" y="133"/>
                  </a:cubicBezTo>
                  <a:cubicBezTo>
                    <a:pt x="439" y="124"/>
                    <a:pt x="33" y="0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353" y="252"/>
                    <a:pt x="563" y="257"/>
                  </a:cubicBezTo>
                  <a:cubicBezTo>
                    <a:pt x="773" y="252"/>
                    <a:pt x="1126" y="9"/>
                    <a:pt x="1126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683DE4C3-20D7-0DBC-5680-261667F752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6" y="1893"/>
              <a:ext cx="4882" cy="542"/>
            </a:xfrm>
            <a:custGeom>
              <a:avLst/>
              <a:gdLst>
                <a:gd name="T0" fmla="*/ 145 w 4897"/>
                <a:gd name="T1" fmla="*/ 121 h 544"/>
                <a:gd name="T2" fmla="*/ 0 w 4897"/>
                <a:gd name="T3" fmla="*/ 544 h 544"/>
                <a:gd name="T4" fmla="*/ 267 w 4897"/>
                <a:gd name="T5" fmla="*/ 0 h 544"/>
                <a:gd name="T6" fmla="*/ 445 w 4897"/>
                <a:gd name="T7" fmla="*/ 312 h 544"/>
                <a:gd name="T8" fmla="*/ 842 w 4897"/>
                <a:gd name="T9" fmla="*/ 0 h 544"/>
                <a:gd name="T10" fmla="*/ 698 w 4897"/>
                <a:gd name="T11" fmla="*/ 544 h 544"/>
                <a:gd name="T12" fmla="*/ 667 w 4897"/>
                <a:gd name="T13" fmla="*/ 121 h 544"/>
                <a:gd name="T14" fmla="*/ 313 w 4897"/>
                <a:gd name="T15" fmla="*/ 433 h 544"/>
                <a:gd name="T16" fmla="*/ 1014 w 4897"/>
                <a:gd name="T17" fmla="*/ 0 h 544"/>
                <a:gd name="T18" fmla="*/ 1158 w 4897"/>
                <a:gd name="T19" fmla="*/ 544 h 544"/>
                <a:gd name="T20" fmla="*/ 1014 w 4897"/>
                <a:gd name="T21" fmla="*/ 0 h 544"/>
                <a:gd name="T22" fmla="*/ 1588 w 4897"/>
                <a:gd name="T23" fmla="*/ 0 h 544"/>
                <a:gd name="T24" fmla="*/ 1903 w 4897"/>
                <a:gd name="T25" fmla="*/ 423 h 544"/>
                <a:gd name="T26" fmla="*/ 2047 w 4897"/>
                <a:gd name="T27" fmla="*/ 0 h 544"/>
                <a:gd name="T28" fmla="*/ 1788 w 4897"/>
                <a:gd name="T29" fmla="*/ 544 h 544"/>
                <a:gd name="T30" fmla="*/ 1474 w 4897"/>
                <a:gd name="T31" fmla="*/ 121 h 544"/>
                <a:gd name="T32" fmla="*/ 1329 w 4897"/>
                <a:gd name="T33" fmla="*/ 544 h 544"/>
                <a:gd name="T34" fmla="*/ 2203 w 4897"/>
                <a:gd name="T35" fmla="*/ 544 h 544"/>
                <a:gd name="T36" fmla="*/ 2714 w 4897"/>
                <a:gd name="T37" fmla="*/ 423 h 544"/>
                <a:gd name="T38" fmla="*/ 2714 w 4897"/>
                <a:gd name="T39" fmla="*/ 328 h 544"/>
                <a:gd name="T40" fmla="*/ 2187 w 4897"/>
                <a:gd name="T41" fmla="*/ 164 h 544"/>
                <a:gd name="T42" fmla="*/ 2871 w 4897"/>
                <a:gd name="T43" fmla="*/ 0 h 544"/>
                <a:gd name="T44" fmla="*/ 2371 w 4897"/>
                <a:gd name="T45" fmla="*/ 121 h 544"/>
                <a:gd name="T46" fmla="*/ 2371 w 4897"/>
                <a:gd name="T47" fmla="*/ 207 h 544"/>
                <a:gd name="T48" fmla="*/ 2902 w 4897"/>
                <a:gd name="T49" fmla="*/ 376 h 544"/>
                <a:gd name="T50" fmla="*/ 2203 w 4897"/>
                <a:gd name="T51" fmla="*/ 544 h 544"/>
                <a:gd name="T52" fmla="*/ 3288 w 4897"/>
                <a:gd name="T53" fmla="*/ 0 h 544"/>
                <a:gd name="T54" fmla="*/ 3818 w 4897"/>
                <a:gd name="T55" fmla="*/ 541 h 544"/>
                <a:gd name="T56" fmla="*/ 3657 w 4897"/>
                <a:gd name="T57" fmla="*/ 544 h 544"/>
                <a:gd name="T58" fmla="*/ 3183 w 4897"/>
                <a:gd name="T59" fmla="*/ 443 h 544"/>
                <a:gd name="T60" fmla="*/ 2964 w 4897"/>
                <a:gd name="T61" fmla="*/ 544 h 544"/>
                <a:gd name="T62" fmla="*/ 3529 w 4897"/>
                <a:gd name="T63" fmla="*/ 322 h 544"/>
                <a:gd name="T64" fmla="*/ 3367 w 4897"/>
                <a:gd name="T65" fmla="*/ 121 h 544"/>
                <a:gd name="T66" fmla="*/ 3529 w 4897"/>
                <a:gd name="T67" fmla="*/ 322 h 544"/>
                <a:gd name="T68" fmla="*/ 4076 w 4897"/>
                <a:gd name="T69" fmla="*/ 0 h 544"/>
                <a:gd name="T70" fmla="*/ 3931 w 4897"/>
                <a:gd name="T71" fmla="*/ 544 h 544"/>
                <a:gd name="T72" fmla="*/ 4475 w 4897"/>
                <a:gd name="T73" fmla="*/ 121 h 544"/>
                <a:gd name="T74" fmla="*/ 4197 w 4897"/>
                <a:gd name="T75" fmla="*/ 0 h 544"/>
                <a:gd name="T76" fmla="*/ 4897 w 4897"/>
                <a:gd name="T77" fmla="*/ 121 h 544"/>
                <a:gd name="T78" fmla="*/ 4619 w 4897"/>
                <a:gd name="T79" fmla="*/ 544 h 544"/>
                <a:gd name="T80" fmla="*/ 4475 w 4897"/>
                <a:gd name="T81" fmla="*/ 12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97" h="544">
                  <a:moveTo>
                    <a:pt x="176" y="121"/>
                  </a:moveTo>
                  <a:cubicBezTo>
                    <a:pt x="145" y="121"/>
                    <a:pt x="145" y="121"/>
                    <a:pt x="145" y="121"/>
                  </a:cubicBezTo>
                  <a:cubicBezTo>
                    <a:pt x="145" y="544"/>
                    <a:pt x="145" y="544"/>
                    <a:pt x="145" y="544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445" y="312"/>
                    <a:pt x="445" y="312"/>
                    <a:pt x="445" y="312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698" y="544"/>
                    <a:pt x="698" y="544"/>
                    <a:pt x="698" y="544"/>
                  </a:cubicBezTo>
                  <a:cubicBezTo>
                    <a:pt x="698" y="121"/>
                    <a:pt x="698" y="121"/>
                    <a:pt x="698" y="121"/>
                  </a:cubicBezTo>
                  <a:cubicBezTo>
                    <a:pt x="667" y="121"/>
                    <a:pt x="667" y="121"/>
                    <a:pt x="667" y="121"/>
                  </a:cubicBezTo>
                  <a:cubicBezTo>
                    <a:pt x="530" y="433"/>
                    <a:pt x="530" y="433"/>
                    <a:pt x="530" y="433"/>
                  </a:cubicBezTo>
                  <a:cubicBezTo>
                    <a:pt x="313" y="433"/>
                    <a:pt x="313" y="433"/>
                    <a:pt x="313" y="433"/>
                  </a:cubicBezTo>
                  <a:lnTo>
                    <a:pt x="176" y="121"/>
                  </a:lnTo>
                  <a:close/>
                  <a:moveTo>
                    <a:pt x="1014" y="0"/>
                  </a:moveTo>
                  <a:cubicBezTo>
                    <a:pt x="1158" y="0"/>
                    <a:pt x="1158" y="0"/>
                    <a:pt x="1158" y="0"/>
                  </a:cubicBezTo>
                  <a:cubicBezTo>
                    <a:pt x="1158" y="544"/>
                    <a:pt x="1158" y="544"/>
                    <a:pt x="1158" y="544"/>
                  </a:cubicBezTo>
                  <a:cubicBezTo>
                    <a:pt x="1014" y="544"/>
                    <a:pt x="1014" y="544"/>
                    <a:pt x="1014" y="544"/>
                  </a:cubicBezTo>
                  <a:lnTo>
                    <a:pt x="1014" y="0"/>
                  </a:lnTo>
                  <a:close/>
                  <a:moveTo>
                    <a:pt x="1329" y="0"/>
                  </a:moveTo>
                  <a:cubicBezTo>
                    <a:pt x="1588" y="0"/>
                    <a:pt x="1588" y="0"/>
                    <a:pt x="1588" y="0"/>
                  </a:cubicBezTo>
                  <a:cubicBezTo>
                    <a:pt x="1871" y="423"/>
                    <a:pt x="1871" y="423"/>
                    <a:pt x="1871" y="423"/>
                  </a:cubicBezTo>
                  <a:cubicBezTo>
                    <a:pt x="1903" y="423"/>
                    <a:pt x="1903" y="423"/>
                    <a:pt x="1903" y="423"/>
                  </a:cubicBezTo>
                  <a:cubicBezTo>
                    <a:pt x="1903" y="0"/>
                    <a:pt x="1903" y="0"/>
                    <a:pt x="1903" y="0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2047" y="544"/>
                    <a:pt x="2047" y="544"/>
                    <a:pt x="2047" y="544"/>
                  </a:cubicBezTo>
                  <a:cubicBezTo>
                    <a:pt x="1788" y="544"/>
                    <a:pt x="1788" y="544"/>
                    <a:pt x="1788" y="544"/>
                  </a:cubicBezTo>
                  <a:cubicBezTo>
                    <a:pt x="1505" y="121"/>
                    <a:pt x="1505" y="121"/>
                    <a:pt x="1505" y="121"/>
                  </a:cubicBezTo>
                  <a:cubicBezTo>
                    <a:pt x="1474" y="121"/>
                    <a:pt x="1474" y="121"/>
                    <a:pt x="1474" y="121"/>
                  </a:cubicBezTo>
                  <a:cubicBezTo>
                    <a:pt x="1474" y="544"/>
                    <a:pt x="1474" y="544"/>
                    <a:pt x="1474" y="544"/>
                  </a:cubicBezTo>
                  <a:cubicBezTo>
                    <a:pt x="1329" y="544"/>
                    <a:pt x="1329" y="544"/>
                    <a:pt x="1329" y="544"/>
                  </a:cubicBezTo>
                  <a:lnTo>
                    <a:pt x="1329" y="0"/>
                  </a:lnTo>
                  <a:close/>
                  <a:moveTo>
                    <a:pt x="2203" y="544"/>
                  </a:moveTo>
                  <a:cubicBezTo>
                    <a:pt x="2203" y="423"/>
                    <a:pt x="2203" y="423"/>
                    <a:pt x="2203" y="423"/>
                  </a:cubicBezTo>
                  <a:cubicBezTo>
                    <a:pt x="2714" y="423"/>
                    <a:pt x="2714" y="423"/>
                    <a:pt x="2714" y="423"/>
                  </a:cubicBezTo>
                  <a:cubicBezTo>
                    <a:pt x="2744" y="423"/>
                    <a:pt x="2761" y="406"/>
                    <a:pt x="2761" y="376"/>
                  </a:cubicBezTo>
                  <a:cubicBezTo>
                    <a:pt x="2761" y="345"/>
                    <a:pt x="2744" y="328"/>
                    <a:pt x="2714" y="328"/>
                  </a:cubicBezTo>
                  <a:cubicBezTo>
                    <a:pt x="2371" y="328"/>
                    <a:pt x="2371" y="328"/>
                    <a:pt x="2371" y="328"/>
                  </a:cubicBezTo>
                  <a:cubicBezTo>
                    <a:pt x="2256" y="328"/>
                    <a:pt x="2187" y="267"/>
                    <a:pt x="2187" y="164"/>
                  </a:cubicBezTo>
                  <a:cubicBezTo>
                    <a:pt x="2187" y="61"/>
                    <a:pt x="2256" y="0"/>
                    <a:pt x="2371" y="0"/>
                  </a:cubicBezTo>
                  <a:cubicBezTo>
                    <a:pt x="2871" y="0"/>
                    <a:pt x="2871" y="0"/>
                    <a:pt x="2871" y="0"/>
                  </a:cubicBezTo>
                  <a:cubicBezTo>
                    <a:pt x="2871" y="121"/>
                    <a:pt x="2871" y="121"/>
                    <a:pt x="2871" y="121"/>
                  </a:cubicBezTo>
                  <a:cubicBezTo>
                    <a:pt x="2371" y="121"/>
                    <a:pt x="2371" y="121"/>
                    <a:pt x="2371" y="121"/>
                  </a:cubicBezTo>
                  <a:cubicBezTo>
                    <a:pt x="2344" y="121"/>
                    <a:pt x="2328" y="137"/>
                    <a:pt x="2328" y="164"/>
                  </a:cubicBezTo>
                  <a:cubicBezTo>
                    <a:pt x="2328" y="191"/>
                    <a:pt x="2344" y="207"/>
                    <a:pt x="2371" y="207"/>
                  </a:cubicBezTo>
                  <a:cubicBezTo>
                    <a:pt x="2714" y="207"/>
                    <a:pt x="2714" y="207"/>
                    <a:pt x="2714" y="207"/>
                  </a:cubicBezTo>
                  <a:cubicBezTo>
                    <a:pt x="2832" y="207"/>
                    <a:pt x="2902" y="270"/>
                    <a:pt x="2902" y="376"/>
                  </a:cubicBezTo>
                  <a:cubicBezTo>
                    <a:pt x="2902" y="481"/>
                    <a:pt x="2832" y="544"/>
                    <a:pt x="2714" y="544"/>
                  </a:cubicBezTo>
                  <a:lnTo>
                    <a:pt x="2203" y="544"/>
                  </a:lnTo>
                  <a:close/>
                  <a:moveTo>
                    <a:pt x="2964" y="541"/>
                  </a:moveTo>
                  <a:cubicBezTo>
                    <a:pt x="3288" y="0"/>
                    <a:pt x="3288" y="0"/>
                    <a:pt x="3288" y="0"/>
                  </a:cubicBezTo>
                  <a:cubicBezTo>
                    <a:pt x="3493" y="0"/>
                    <a:pt x="3493" y="0"/>
                    <a:pt x="3493" y="0"/>
                  </a:cubicBezTo>
                  <a:cubicBezTo>
                    <a:pt x="3818" y="541"/>
                    <a:pt x="3818" y="541"/>
                    <a:pt x="3818" y="541"/>
                  </a:cubicBezTo>
                  <a:cubicBezTo>
                    <a:pt x="3818" y="544"/>
                    <a:pt x="3818" y="544"/>
                    <a:pt x="3818" y="544"/>
                  </a:cubicBezTo>
                  <a:cubicBezTo>
                    <a:pt x="3657" y="544"/>
                    <a:pt x="3657" y="544"/>
                    <a:pt x="3657" y="544"/>
                  </a:cubicBezTo>
                  <a:cubicBezTo>
                    <a:pt x="3598" y="443"/>
                    <a:pt x="3598" y="443"/>
                    <a:pt x="3598" y="443"/>
                  </a:cubicBezTo>
                  <a:cubicBezTo>
                    <a:pt x="3183" y="443"/>
                    <a:pt x="3183" y="443"/>
                    <a:pt x="3183" y="443"/>
                  </a:cubicBezTo>
                  <a:cubicBezTo>
                    <a:pt x="3125" y="544"/>
                    <a:pt x="3125" y="544"/>
                    <a:pt x="3125" y="544"/>
                  </a:cubicBezTo>
                  <a:cubicBezTo>
                    <a:pt x="2964" y="544"/>
                    <a:pt x="2964" y="544"/>
                    <a:pt x="2964" y="544"/>
                  </a:cubicBezTo>
                  <a:lnTo>
                    <a:pt x="2964" y="541"/>
                  </a:lnTo>
                  <a:close/>
                  <a:moveTo>
                    <a:pt x="3529" y="322"/>
                  </a:moveTo>
                  <a:cubicBezTo>
                    <a:pt x="3414" y="121"/>
                    <a:pt x="3414" y="121"/>
                    <a:pt x="3414" y="121"/>
                  </a:cubicBezTo>
                  <a:cubicBezTo>
                    <a:pt x="3367" y="121"/>
                    <a:pt x="3367" y="121"/>
                    <a:pt x="3367" y="121"/>
                  </a:cubicBezTo>
                  <a:cubicBezTo>
                    <a:pt x="3252" y="322"/>
                    <a:pt x="3252" y="322"/>
                    <a:pt x="3252" y="322"/>
                  </a:cubicBezTo>
                  <a:lnTo>
                    <a:pt x="3529" y="322"/>
                  </a:lnTo>
                  <a:close/>
                  <a:moveTo>
                    <a:pt x="3931" y="0"/>
                  </a:moveTo>
                  <a:cubicBezTo>
                    <a:pt x="4076" y="0"/>
                    <a:pt x="4076" y="0"/>
                    <a:pt x="4076" y="0"/>
                  </a:cubicBezTo>
                  <a:cubicBezTo>
                    <a:pt x="4076" y="544"/>
                    <a:pt x="4076" y="544"/>
                    <a:pt x="4076" y="544"/>
                  </a:cubicBezTo>
                  <a:cubicBezTo>
                    <a:pt x="3931" y="544"/>
                    <a:pt x="3931" y="544"/>
                    <a:pt x="3931" y="544"/>
                  </a:cubicBezTo>
                  <a:lnTo>
                    <a:pt x="3931" y="0"/>
                  </a:lnTo>
                  <a:close/>
                  <a:moveTo>
                    <a:pt x="4475" y="121"/>
                  </a:moveTo>
                  <a:cubicBezTo>
                    <a:pt x="4197" y="121"/>
                    <a:pt x="4197" y="121"/>
                    <a:pt x="4197" y="121"/>
                  </a:cubicBezTo>
                  <a:cubicBezTo>
                    <a:pt x="4197" y="0"/>
                    <a:pt x="4197" y="0"/>
                    <a:pt x="4197" y="0"/>
                  </a:cubicBezTo>
                  <a:cubicBezTo>
                    <a:pt x="4897" y="0"/>
                    <a:pt x="4897" y="0"/>
                    <a:pt x="4897" y="0"/>
                  </a:cubicBezTo>
                  <a:cubicBezTo>
                    <a:pt x="4897" y="121"/>
                    <a:pt x="4897" y="121"/>
                    <a:pt x="4897" y="121"/>
                  </a:cubicBezTo>
                  <a:cubicBezTo>
                    <a:pt x="4619" y="121"/>
                    <a:pt x="4619" y="121"/>
                    <a:pt x="4619" y="121"/>
                  </a:cubicBezTo>
                  <a:cubicBezTo>
                    <a:pt x="4619" y="544"/>
                    <a:pt x="4619" y="544"/>
                    <a:pt x="4619" y="544"/>
                  </a:cubicBezTo>
                  <a:cubicBezTo>
                    <a:pt x="4475" y="544"/>
                    <a:pt x="4475" y="544"/>
                    <a:pt x="4475" y="544"/>
                  </a:cubicBezTo>
                  <a:lnTo>
                    <a:pt x="4475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/>
            </a:p>
          </p:txBody>
        </p:sp>
      </p:grpSp>
    </p:spTree>
    <p:extLst>
      <p:ext uri="{BB962C8B-B14F-4D97-AF65-F5344CB8AC3E}">
        <p14:creationId xmlns:p14="http://schemas.microsoft.com/office/powerpoint/2010/main" val="6317145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tags" Target="../tags/tag1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5.xml"/><Relationship Id="rId11" Type="http://schemas.openxmlformats.org/officeDocument/2006/relationships/theme" Target="../theme/theme2.xml"/><Relationship Id="rId12" Type="http://schemas.openxmlformats.org/officeDocument/2006/relationships/tags" Target="../tags/tag9.xml"/><Relationship Id="rId13" Type="http://schemas.openxmlformats.org/officeDocument/2006/relationships/oleObject" Target="../embeddings/oleObject8.bin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98D8C95-BCFA-512B-EABA-1F91E19DB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16683198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06" imgH="306" progId="TCLayout.ActiveDocument.1">
                  <p:embed/>
                </p:oleObj>
              </mc:Choice>
              <mc:Fallback>
                <p:oleObj name="Diapositiva de think-cell" r:id="rId18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8D8C95-BCFA-512B-EABA-1F91E19DB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0730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187325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176213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85738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780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119" userDrawn="1">
          <p15:clr>
            <a:srgbClr val="F26B43"/>
          </p15:clr>
        </p15:guide>
        <p15:guide id="4" pos="4201" userDrawn="1">
          <p15:clr>
            <a:srgbClr val="F26B43"/>
          </p15:clr>
        </p15:guide>
        <p15:guide id="5" orient="horz" pos="6985" userDrawn="1">
          <p15:clr>
            <a:srgbClr val="F26B43"/>
          </p15:clr>
        </p15:guide>
        <p15:guide id="6" orient="horz" pos="414" userDrawn="1">
          <p15:clr>
            <a:srgbClr val="F26B43"/>
          </p15:clr>
        </p15:guide>
        <p15:guide id="7" orient="horz" pos="73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D09E399-3561-B977-D5DC-7AD154CF90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75321299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3" imgW="306" imgH="306" progId="TCLayout.ActiveDocument.1">
                  <p:embed/>
                </p:oleObj>
              </mc:Choice>
              <mc:Fallback>
                <p:oleObj name="Diapositiva de think-cell" r:id="rId1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09E399-3561-B977-D5DC-7AD154CF9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9C91ED4-1BBC-2208-ADD9-0A031E1B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641" y="976488"/>
            <a:ext cx="5915024" cy="17559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1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DB3E8317-C082-8622-32FC-F11CF38370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8640" y="3245556"/>
            <a:ext cx="5915025" cy="72113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Haga clic para modificar los estilos de texto del patrón</a:t>
            </a:r>
          </a:p>
          <a:p>
            <a:pPr lvl="1"/>
            <a:r>
              <a:rPr lang="en-GB" noProof="1"/>
              <a:t>Segundo nivel</a:t>
            </a:r>
          </a:p>
          <a:p>
            <a:pPr lvl="2"/>
            <a:r>
              <a:rPr lang="en-GB" noProof="1"/>
              <a:t>Tercer nivel</a:t>
            </a:r>
          </a:p>
          <a:p>
            <a:pPr lvl="3"/>
            <a:r>
              <a:rPr lang="en-GB" noProof="1"/>
              <a:t>Cuarto nivel</a:t>
            </a:r>
          </a:p>
          <a:p>
            <a:pPr lvl="4"/>
            <a:r>
              <a:rPr lang="en-GB" noProof="1"/>
              <a:t>Quinto nivel</a:t>
            </a:r>
          </a:p>
        </p:txBody>
      </p:sp>
      <p:sp>
        <p:nvSpPr>
          <p:cNvPr id="21" name="Marcador de pie de página 2">
            <a:extLst>
              <a:ext uri="{FF2B5EF4-FFF2-40B4-BE49-F238E27FC236}">
                <a16:creationId xmlns:a16="http://schemas.microsoft.com/office/drawing/2014/main" id="{DBFEAADD-FA30-EAB3-7735-AD0E306B6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8640" y="11476223"/>
            <a:ext cx="407865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6579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hf sldNum="0" hdr="0" dt="0"/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119" userDrawn="1">
          <p15:clr>
            <a:srgbClr val="F26B43"/>
          </p15:clr>
        </p15:guide>
        <p15:guide id="4" pos="4201" userDrawn="1">
          <p15:clr>
            <a:srgbClr val="F26B43"/>
          </p15:clr>
        </p15:guide>
        <p15:guide id="5" orient="horz" pos="6985" userDrawn="1">
          <p15:clr>
            <a:srgbClr val="F26B43"/>
          </p15:clr>
        </p15:guide>
        <p15:guide id="6" orient="horz" pos="615" userDrawn="1">
          <p15:clr>
            <a:srgbClr val="F26B43"/>
          </p15:clr>
        </p15:guide>
        <p15:guide id="7" orient="horz" pos="357" userDrawn="1">
          <p15:clr>
            <a:srgbClr val="F26B43"/>
          </p15:clr>
        </p15:guide>
        <p15:guide id="8" orient="horz" pos="7307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Layout" Target="../slideLayouts/slideLayout16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2.emf"/><Relationship Id="rId6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FE49B4-894F-D734-134C-6FF4157A2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2665412" y="2668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5" imgH="426" progId="TCLayout.ActiveDocument.1">
                  <p:embed/>
                </p:oleObj>
              </mc:Choice>
              <mc:Fallback>
                <p:oleObj name="Diapositiva de think-cell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E49B4-894F-D734-134C-6FF4157A2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665412" y="2668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Imagen 23">
            <a:extLst>
              <a:ext uri="{FF2B5EF4-FFF2-40B4-BE49-F238E27FC236}">
                <a16:creationId xmlns:a16="http://schemas.microsoft.com/office/drawing/2014/main" id="{983BE76A-58D1-D092-07D8-EE516677A064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7191" y="347953"/>
            <a:ext cx="831917" cy="500356"/>
          </a:xfrm>
          <a:prstGeom prst="rect">
            <a:avLst/>
          </a:prstGeom>
        </p:spPr>
      </p:pic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B2084C76-A53E-5129-1316-707BDD48E9F6}"/>
              </a:ext>
            </a:extLst>
          </p:cNvPr>
          <p:cNvSpPr txBox="1">
            <a:spLocks/>
          </p:cNvSpPr>
          <p:nvPr/>
        </p:nvSpPr>
        <p:spPr>
          <a:xfrm>
            <a:off x="1071816" y="18979"/>
            <a:ext cx="4955656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s-419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noProof="1"/>
              <a:t>Novedad regulatoria (nombre abreviado de la ley)</a:t>
            </a:r>
            <a:endParaRPr lang="en-US" sz="2400" noProof="1">
              <a:solidFill>
                <a:schemeClr val="accent1"/>
              </a:solidFill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2420E2D8-810E-D925-27A7-A65C81123EEB}"/>
              </a:ext>
            </a:extLst>
          </p:cNvPr>
          <p:cNvSpPr/>
          <p:nvPr/>
        </p:nvSpPr>
        <p:spPr>
          <a:xfrm>
            <a:off x="85203" y="797012"/>
            <a:ext cx="6826317" cy="1068809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/>
              <a:t>17/02/2025</a:t>
            </a:r>
          </a:p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Información técnica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624F5488-7D26-B2D8-7AAB-45847215A670}"/>
              </a:ext>
            </a:extLst>
          </p:cNvPr>
          <p:cNvSpPr/>
          <p:nvPr/>
        </p:nvSpPr>
        <p:spPr>
          <a:xfrm>
            <a:off x="105789" y="1797946"/>
            <a:ext cx="5638736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Sector generado por el agente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Norma generada por el agente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Categoría generada por el agente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01/01/2020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01/03/2020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Vigente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/>
              <a:t>Resumen ejecutivo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4DE3290E-43EC-AFAE-B72A-FED863094954}"/>
              </a:ext>
            </a:extLst>
          </p:cNvPr>
          <p:cNvSpPr/>
          <p:nvPr/>
        </p:nvSpPr>
        <p:spPr>
          <a:xfrm>
            <a:off x="5181079" y="1056290"/>
            <a:ext cx="1319019" cy="5071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5" name="Conector: angular 4">
            <a:extLst>
              <a:ext uri="{FF2B5EF4-FFF2-40B4-BE49-F238E27FC236}">
                <a16:creationId xmlns:a16="http://schemas.microsoft.com/office/drawing/2014/main" id="{7A4F3634-FB1D-3991-DBF9-9F7AB4E709F7}"/>
              </a:ext>
            </a:extLst>
          </p:cNvPr>
          <p:cNvCxnSpPr/>
          <p:nvPr/>
        </p:nvCxnSpPr>
        <p:spPr>
          <a:xfrm>
            <a:off x="6027472" y="1308538"/>
            <a:ext cx="2012942" cy="254944"/>
          </a:xfrm>
          <a:prstGeom prst="bentConnector3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CuadroTexto 5">
            <a:extLst>
              <a:ext uri="{FF2B5EF4-FFF2-40B4-BE49-F238E27FC236}">
                <a16:creationId xmlns:a16="http://schemas.microsoft.com/office/drawing/2014/main" id="{E8E13A13-5605-7C20-03E1-95398C9A3B53}"/>
              </a:ext>
            </a:extLst>
          </p:cNvPr>
          <p:cNvSpPr txBox="1"/>
          <p:nvPr/>
        </p:nvSpPr>
        <p:spPr>
          <a:xfrm>
            <a:off x="8224655" y="1308538"/>
            <a:ext cx="1324303" cy="653714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cs typeface="Trebuchet MS"/>
              </a:rPr>
              <a:t>Bandera del país donde aplica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A9EC0189-4A38-E226-C85D-12E772EC88CD}"/>
              </a:ext>
            </a:extLst>
          </p:cNvPr>
          <p:cNvSpPr/>
          <p:nvPr/>
        </p:nvSpPr>
        <p:spPr>
          <a:xfrm>
            <a:off x="4352452" y="1051130"/>
            <a:ext cx="626993" cy="507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8" name="Conector: angular 7">
            <a:extLst>
              <a:ext uri="{FF2B5EF4-FFF2-40B4-BE49-F238E27FC236}">
                <a16:creationId xmlns:a16="http://schemas.microsoft.com/office/drawing/2014/main" id="{E0C7CC9C-85CD-74FD-65D5-F9CB96CE55E0}"/>
              </a:ext>
            </a:extLst>
          </p:cNvPr>
          <p:cNvCxnSpPr>
            <a:cxnSpLocks/>
          </p:cNvCxnSpPr>
          <p:nvPr/>
        </p:nvCxnSpPr>
        <p:spPr>
          <a:xfrm>
            <a:off x="4662146" y="1428919"/>
            <a:ext cx="3378268" cy="948428"/>
          </a:xfrm>
          <a:prstGeom prst="bentConnector3">
            <a:avLst>
              <a:gd name="adj1" fmla="val -401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A529070-35B8-0E7F-1005-F06C36870514}"/>
              </a:ext>
            </a:extLst>
          </p:cNvPr>
          <p:cNvSpPr txBox="1"/>
          <p:nvPr/>
        </p:nvSpPr>
        <p:spPr>
          <a:xfrm>
            <a:off x="8224654" y="2331398"/>
            <a:ext cx="1324303" cy="438271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cs typeface="Trebuchet MS"/>
              </a:rPr>
              <a:t>Logo del emisor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AB90013-7A5C-17E0-2720-BCFDC298E924}"/>
              </a:ext>
            </a:extLst>
          </p:cNvPr>
          <p:cNvSpPr txBox="1"/>
          <p:nvPr/>
        </p:nvSpPr>
        <p:spPr>
          <a:xfrm>
            <a:off x="8224654" y="3068863"/>
            <a:ext cx="6389980" cy="222827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sector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CDF839BA-11F2-A32D-591F-9B54B6B18F35}"/>
              </a:ext>
            </a:extLst>
          </p:cNvPr>
          <p:cNvSpPr txBox="1"/>
          <p:nvPr/>
        </p:nvSpPr>
        <p:spPr>
          <a:xfrm>
            <a:off x="-3113834" y="1962332"/>
            <a:ext cx="6389980" cy="899935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estado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Propuesta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Aprobada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En consultas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Vigente</a:t>
            </a: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A5BF9674-863E-CD3B-EAD8-0B969DD2945E}"/>
              </a:ext>
            </a:extLst>
          </p:cNvPr>
          <p:cNvSpPr/>
          <p:nvPr/>
        </p:nvSpPr>
        <p:spPr>
          <a:xfrm>
            <a:off x="284772" y="3513035"/>
            <a:ext cx="6215326" cy="102104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lang="es-ES" sz="1100" kern="0" dirty="0"/>
              <a:t>Resumen ejecutivo</a:t>
            </a:r>
            <a:r>
              <a:rPr lang="es-ES" sz="1100" dirty="0"/>
              <a:t>]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6499166B-D91C-3814-2944-4AA652557660}"/>
              </a:ext>
            </a:extLst>
          </p:cNvPr>
          <p:cNvSpPr/>
          <p:nvPr/>
        </p:nvSpPr>
        <p:spPr>
          <a:xfrm>
            <a:off x="161406" y="4661910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Análisis de riesgo e impactos para Entidad generada por el agente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DDE7FBEA-D764-1BD4-8F83-E9887AAF76C2}"/>
              </a:ext>
            </a:extLst>
          </p:cNvPr>
          <p:cNvSpPr/>
          <p:nvPr/>
        </p:nvSpPr>
        <p:spPr>
          <a:xfrm>
            <a:off x="118842" y="5040819"/>
            <a:ext cx="5638736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Áreas generadas por el agente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Valor generado para [Cumplimiento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Requisitos o cambios exigid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30 dí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Owners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o responsab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Propuesta de recursos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1C2DB7DA-ABDE-26E7-C37F-3CB524CF535D}"/>
              </a:ext>
            </a:extLst>
          </p:cNvPr>
          <p:cNvSpPr/>
          <p:nvPr/>
        </p:nvSpPr>
        <p:spPr>
          <a:xfrm>
            <a:off x="219755" y="10848029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Referencias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EC742DD-F120-8E54-8665-2C6E7390496C}"/>
              </a:ext>
            </a:extLst>
          </p:cNvPr>
          <p:cNvSpPr/>
          <p:nvPr/>
        </p:nvSpPr>
        <p:spPr>
          <a:xfrm>
            <a:off x="177191" y="11226938"/>
            <a:ext cx="5638736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http://ejemplo.com/document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Notas de prensa generadas por el agente</a:t>
            </a:r>
          </a:p>
        </p:txBody>
      </p:sp>
      <p:cxnSp>
        <p:nvCxnSpPr>
          <p:cNvPr id="19" name="Conector: angular 18">
            <a:extLst>
              <a:ext uri="{FF2B5EF4-FFF2-40B4-BE49-F238E27FC236}">
                <a16:creationId xmlns:a16="http://schemas.microsoft.com/office/drawing/2014/main" id="{700B6489-6541-2AA0-079B-440187C2E284}"/>
              </a:ext>
            </a:extLst>
          </p:cNvPr>
          <p:cNvCxnSpPr>
            <a:cxnSpLocks/>
          </p:cNvCxnSpPr>
          <p:nvPr/>
        </p:nvCxnSpPr>
        <p:spPr>
          <a:xfrm rot="10800000">
            <a:off x="-1198178" y="2067702"/>
            <a:ext cx="1494947" cy="102668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CuadroTexto 21">
            <a:extLst>
              <a:ext uri="{FF2B5EF4-FFF2-40B4-BE49-F238E27FC236}">
                <a16:creationId xmlns:a16="http://schemas.microsoft.com/office/drawing/2014/main" id="{5EF74251-0135-6AFB-2FB3-CF8AF040F5FA}"/>
              </a:ext>
            </a:extLst>
          </p:cNvPr>
          <p:cNvSpPr txBox="1"/>
          <p:nvPr/>
        </p:nvSpPr>
        <p:spPr>
          <a:xfrm>
            <a:off x="-3113834" y="-1298479"/>
            <a:ext cx="6389980" cy="3315981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categoría</a:t>
            </a:r>
            <a:endParaRPr lang="es-ES" sz="1400" dirty="0">
              <a:solidFill>
                <a:schemeClr val="tx2"/>
              </a:solidFill>
              <a:cs typeface="Trebuchet MS"/>
            </a:endParaRP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Ley Orgánic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Ley Ordinari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irectiv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glament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cis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comenda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 err="1"/>
              <a:t>Dictámen</a:t>
            </a:r>
            <a:endParaRPr lang="es-ES" sz="1100" kern="0" dirty="0"/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al decret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creto ley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irectriz o </a:t>
            </a:r>
            <a:r>
              <a:rPr lang="es-ES" sz="1100" kern="0" dirty="0" err="1"/>
              <a:t>guideline</a:t>
            </a:r>
            <a:endParaRPr lang="es-ES" sz="1100" kern="0" dirty="0"/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solu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Evalua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FAQ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Memori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ódigo de buenas práctica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ertificación internacional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Program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tx2"/>
              </a:solidFill>
              <a:cs typeface="Trebuchet MS"/>
            </a:endParaRPr>
          </a:p>
        </p:txBody>
      </p:sp>
      <p:cxnSp>
        <p:nvCxnSpPr>
          <p:cNvPr id="23" name="Conector: angular 22">
            <a:extLst>
              <a:ext uri="{FF2B5EF4-FFF2-40B4-BE49-F238E27FC236}">
                <a16:creationId xmlns:a16="http://schemas.microsoft.com/office/drawing/2014/main" id="{3CF91F43-8ECC-B6D1-4C22-6068A38F3D17}"/>
              </a:ext>
            </a:extLst>
          </p:cNvPr>
          <p:cNvCxnSpPr>
            <a:cxnSpLocks/>
          </p:cNvCxnSpPr>
          <p:nvPr/>
        </p:nvCxnSpPr>
        <p:spPr>
          <a:xfrm rot="16200000" flipV="1">
            <a:off x="-2198558" y="-111049"/>
            <a:ext cx="3351095" cy="157105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ángulo 26">
            <a:extLst>
              <a:ext uri="{FF2B5EF4-FFF2-40B4-BE49-F238E27FC236}">
                <a16:creationId xmlns:a16="http://schemas.microsoft.com/office/drawing/2014/main" id="{54FBBD04-B4B3-8154-8DD9-CADED1900FA5}"/>
              </a:ext>
            </a:extLst>
          </p:cNvPr>
          <p:cNvSpPr/>
          <p:nvPr/>
        </p:nvSpPr>
        <p:spPr>
          <a:xfrm>
            <a:off x="8040414" y="3405673"/>
            <a:ext cx="390984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Cross sector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Banca y entidades de crédit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Seguros y reasegur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ercado de valores </a:t>
            </a:r>
            <a:r>
              <a:rPr lang="es-ES" sz="1100" kern="0" dirty="0"/>
              <a:t>e inversion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intech y criptomoned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Software / hardware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lataformas y redes socia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Ciberseguridad y protección de dat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A y bloc</a:t>
            </a:r>
            <a:r>
              <a:rPr lang="es-ES" sz="1100" kern="0" dirty="0" err="1"/>
              <a:t>kchain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nergías re</a:t>
            </a:r>
            <a:r>
              <a:rPr lang="es-ES" sz="1100" kern="0" dirty="0" err="1"/>
              <a:t>novables</a:t>
            </a:r>
            <a:r>
              <a:rPr lang="es-ES" sz="1100" kern="0" dirty="0"/>
              <a:t> y combustibles fósi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Gestión de residuos y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reciv</a:t>
            </a:r>
            <a:r>
              <a:rPr lang="es-ES" sz="1100" kern="0" dirty="0" err="1"/>
              <a:t>claje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dustria química y emisiones industriales 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Automotriz y aeronáutic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roducción </a:t>
            </a:r>
            <a:r>
              <a:rPr lang="es-ES" sz="1100" kern="0" dirty="0"/>
              <a:t>de maquinaria y equip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dustria textil y de consum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Industria farmacéutica y biotecnologí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ispositivos médicos y hospita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Seguridad alimentaria y nutrición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648859F9-36FE-21F0-5F7B-F75D958A87B7}"/>
              </a:ext>
            </a:extLst>
          </p:cNvPr>
          <p:cNvSpPr/>
          <p:nvPr/>
        </p:nvSpPr>
        <p:spPr>
          <a:xfrm>
            <a:off x="11347181" y="3405673"/>
            <a:ext cx="390984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Obras públicas y urbanism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mpresas in</a:t>
            </a:r>
            <a:r>
              <a:rPr lang="es-ES" sz="1100" kern="0" dirty="0"/>
              <a:t>mobiliari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Arquit</a:t>
            </a:r>
            <a:r>
              <a:rPr lang="es-ES" sz="1100" kern="0" dirty="0" err="1"/>
              <a:t>ectura</a:t>
            </a:r>
            <a:r>
              <a:rPr lang="es-ES" sz="1100" kern="0" dirty="0"/>
              <a:t> e ingeniería civil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erolíneas y transporte marítim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mpresas de transporte terrestre y ferroviari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ervicios de paquetería y distribución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omercio electrónico y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marketplaces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Grandes cadenas y tiendas físic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ranquicias y distribución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Hoteles y alojamientos turístic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gencias de viajes y aerolíne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estaurantes y gastronomí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roducción agrícola y ganader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groindustria y exportación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eguridad alimentaria y trazabilidad</a:t>
            </a:r>
          </a:p>
        </p:txBody>
      </p:sp>
      <p:cxnSp>
        <p:nvCxnSpPr>
          <p:cNvPr id="31" name="Conector: angular 30">
            <a:extLst>
              <a:ext uri="{FF2B5EF4-FFF2-40B4-BE49-F238E27FC236}">
                <a16:creationId xmlns:a16="http://schemas.microsoft.com/office/drawing/2014/main" id="{BF06EFF0-0F5A-4B54-CC2B-F88F4D6B75FC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3472558" y="1942726"/>
            <a:ext cx="4752096" cy="1237551"/>
          </a:xfrm>
          <a:prstGeom prst="bentConnector3">
            <a:avLst>
              <a:gd name="adj1" fmla="val -96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528FD3AD-159F-304D-A610-8FC5AD09F659}"/>
              </a:ext>
            </a:extLst>
          </p:cNvPr>
          <p:cNvSpPr txBox="1"/>
          <p:nvPr/>
        </p:nvSpPr>
        <p:spPr>
          <a:xfrm>
            <a:off x="-3449808" y="3078949"/>
            <a:ext cx="6389980" cy="5008753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áreas afectada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tx2"/>
              </a:solidFill>
              <a:cs typeface="Trebuchet MS"/>
            </a:endParaRP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Asesoría Legal / Jurídic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umplimiento Normativo (Compliance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 Riesgo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Propiedad Intelectual y Patent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l Talento / RRHH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clutamiento y Selec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apacitación y Desarroll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Salud Ocupacional y Seguridad Laboral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laciones Laboral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Tecnología de la Información (TI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Seguridad Informática / Ciberseguridad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sarrollo e Innovación (I+D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 Datos y Analític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Operacion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Logística y Cadena de Suministr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Producción / Manufactur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Mantenimiento y Calidad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Marketing y Publicidad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Ventas y Comercializa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Atención al Cliente y Servicio Postvent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 Marca y Comunicación Corporativ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laciones Públicas e Institucional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sponsabilidad Social Empresarial (RSE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Sostenibilidad y Medio Ambiente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sarrollo de Nuevos Producto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Expansión y Nuevos Mercado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Transformación Digital</a:t>
            </a:r>
          </a:p>
        </p:txBody>
      </p:sp>
      <p:cxnSp>
        <p:nvCxnSpPr>
          <p:cNvPr id="36" name="Conector: angular 35">
            <a:extLst>
              <a:ext uri="{FF2B5EF4-FFF2-40B4-BE49-F238E27FC236}">
                <a16:creationId xmlns:a16="http://schemas.microsoft.com/office/drawing/2014/main" id="{508EADD0-64DF-315A-21B4-99F903804696}"/>
              </a:ext>
            </a:extLst>
          </p:cNvPr>
          <p:cNvCxnSpPr>
            <a:cxnSpLocks/>
          </p:cNvCxnSpPr>
          <p:nvPr/>
        </p:nvCxnSpPr>
        <p:spPr>
          <a:xfrm rot="10800000">
            <a:off x="-945931" y="4228928"/>
            <a:ext cx="1245028" cy="84667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B38A5962-6271-1EED-98B2-F0B8922BF7A5}"/>
              </a:ext>
            </a:extLst>
          </p:cNvPr>
          <p:cNvSpPr/>
          <p:nvPr/>
        </p:nvSpPr>
        <p:spPr>
          <a:xfrm>
            <a:off x="296769" y="5791494"/>
            <a:ext cx="6215326" cy="91592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144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lang="es-ES" sz="1100" kern="0" dirty="0"/>
              <a:t>Requisitos o cambios exigidos</a:t>
            </a:r>
            <a:r>
              <a:rPr lang="es-ES" sz="1100" dirty="0"/>
              <a:t>]</a:t>
            </a:r>
          </a:p>
        </p:txBody>
      </p:sp>
      <p:sp>
        <p:nvSpPr>
          <p:cNvPr id="57" name="object 2">
            <a:extLst>
              <a:ext uri="{FF2B5EF4-FFF2-40B4-BE49-F238E27FC236}">
                <a16:creationId xmlns:a16="http://schemas.microsoft.com/office/drawing/2014/main" id="{471D7D59-0C9D-E376-95B6-C8DFFACCC83A}"/>
              </a:ext>
            </a:extLst>
          </p:cNvPr>
          <p:cNvSpPr/>
          <p:nvPr/>
        </p:nvSpPr>
        <p:spPr>
          <a:xfrm>
            <a:off x="296769" y="7020697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r>
              <a:rPr lang="es-ES" sz="1100" dirty="0"/>
              <a:t>]</a:t>
            </a: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AB374B91-17F0-6E62-0B52-B76E8D956809}"/>
              </a:ext>
            </a:extLst>
          </p:cNvPr>
          <p:cNvSpPr/>
          <p:nvPr/>
        </p:nvSpPr>
        <p:spPr>
          <a:xfrm>
            <a:off x="284772" y="8236148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  <a:r>
              <a:rPr lang="es-ES" sz="1100" dirty="0"/>
              <a:t>]</a:t>
            </a:r>
          </a:p>
        </p:txBody>
      </p:sp>
      <p:cxnSp>
        <p:nvCxnSpPr>
          <p:cNvPr id="62" name="Conector: angular 61">
            <a:extLst>
              <a:ext uri="{FF2B5EF4-FFF2-40B4-BE49-F238E27FC236}">
                <a16:creationId xmlns:a16="http://schemas.microsoft.com/office/drawing/2014/main" id="{39F70FCD-856A-BC1F-C159-DD2F193F7CFF}"/>
              </a:ext>
            </a:extLst>
          </p:cNvPr>
          <p:cNvCxnSpPr>
            <a:cxnSpLocks/>
          </p:cNvCxnSpPr>
          <p:nvPr/>
        </p:nvCxnSpPr>
        <p:spPr>
          <a:xfrm>
            <a:off x="1447800" y="5377746"/>
            <a:ext cx="6647260" cy="2609619"/>
          </a:xfrm>
          <a:prstGeom prst="bentConnector3">
            <a:avLst>
              <a:gd name="adj1" fmla="val 85823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CuadroTexto 87">
            <a:extLst>
              <a:ext uri="{FF2B5EF4-FFF2-40B4-BE49-F238E27FC236}">
                <a16:creationId xmlns:a16="http://schemas.microsoft.com/office/drawing/2014/main" id="{8DFF05B9-9BDE-35FC-58C0-97EF60E0F4E2}"/>
              </a:ext>
            </a:extLst>
          </p:cNvPr>
          <p:cNvSpPr txBox="1"/>
          <p:nvPr/>
        </p:nvSpPr>
        <p:spPr>
          <a:xfrm>
            <a:off x="8279300" y="7872744"/>
            <a:ext cx="6389980" cy="222827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cumplimiento</a:t>
            </a: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id="{040A00E2-8844-5BC8-7F39-3906C426D9AE}"/>
              </a:ext>
            </a:extLst>
          </p:cNvPr>
          <p:cNvSpPr/>
          <p:nvPr/>
        </p:nvSpPr>
        <p:spPr>
          <a:xfrm>
            <a:off x="8095060" y="8209554"/>
            <a:ext cx="390984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Vinculante (obligatorio)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No vinculante</a:t>
            </a:r>
          </a:p>
        </p:txBody>
      </p:sp>
      <p:sp>
        <p:nvSpPr>
          <p:cNvPr id="91" name="object 2">
            <a:extLst>
              <a:ext uri="{FF2B5EF4-FFF2-40B4-BE49-F238E27FC236}">
                <a16:creationId xmlns:a16="http://schemas.microsoft.com/office/drawing/2014/main" id="{59A34A1E-050E-2007-1526-9C61971F8E59}"/>
              </a:ext>
            </a:extLst>
          </p:cNvPr>
          <p:cNvSpPr/>
          <p:nvPr/>
        </p:nvSpPr>
        <p:spPr>
          <a:xfrm>
            <a:off x="262517" y="9938671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Indicar si hay herramientas en el mercado que ya abordan el tema, presupuesto que se puede estimar….</a:t>
            </a:r>
          </a:p>
        </p:txBody>
      </p:sp>
    </p:spTree>
    <p:extLst>
      <p:ext uri="{BB962C8B-B14F-4D97-AF65-F5344CB8AC3E}">
        <p14:creationId xmlns:p14="http://schemas.microsoft.com/office/powerpoint/2010/main" val="844352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">
  <a:themeElements>
    <a:clrScheme name="MINSAIT COLORS">
      <a:dk1>
        <a:srgbClr val="4F062A"/>
      </a:dk1>
      <a:lt1>
        <a:srgbClr val="FFFFFF"/>
      </a:lt1>
      <a:dk2>
        <a:srgbClr val="260717"/>
      </a:dk2>
      <a:lt2>
        <a:srgbClr val="E3E2DA"/>
      </a:lt2>
      <a:accent1>
        <a:srgbClr val="FF0054"/>
      </a:accent1>
      <a:accent2>
        <a:srgbClr val="44B757"/>
      </a:accent2>
      <a:accent3>
        <a:srgbClr val="8661F5"/>
      </a:accent3>
      <a:accent4>
        <a:srgbClr val="E56813"/>
      </a:accent4>
      <a:accent5>
        <a:srgbClr val="00B0BD"/>
      </a:accent5>
      <a:accent6>
        <a:srgbClr val="EF659D"/>
      </a:accent6>
      <a:hlink>
        <a:srgbClr val="FF0054"/>
      </a:hlink>
      <a:folHlink>
        <a:srgbClr val="A40037"/>
      </a:folHlink>
    </a:clrScheme>
    <a:fontScheme name="Personalizado 4">
      <a:majorFont>
        <a:latin typeface="ForFuture Sans"/>
        <a:ea typeface=""/>
        <a:cs typeface=""/>
      </a:majorFont>
      <a:minorFont>
        <a:latin typeface="ForFuture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7312" rIns="0" bIns="0" rtlCol="0">
        <a:spAutoFit/>
      </a:bodyPr>
      <a:lstStyle>
        <a:defPPr marL="7696" algn="l">
          <a:spcBef>
            <a:spcPts val="600"/>
          </a:spcBef>
          <a:defRPr sz="1400" dirty="0" smtClean="0">
            <a:solidFill>
              <a:schemeClr val="tx2"/>
            </a:solidFill>
            <a:cs typeface="Trebuchet M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MINSAIT.potx" id="{8C9AA064-F6BB-49A0-B948-6EBD015E0CDF}" vid="{A716F644-A373-487E-BBAA-B12B6CC004E8}"/>
    </a:ext>
  </a:extLst>
</a:theme>
</file>

<file path=ppt/theme/theme2.xml><?xml version="1.0" encoding="utf-8"?>
<a:theme xmlns:a="http://schemas.openxmlformats.org/drawingml/2006/main" name="CONTENIDO">
  <a:themeElements>
    <a:clrScheme name="MINSAIT 2024">
      <a:dk1>
        <a:srgbClr val="4F062A"/>
      </a:dk1>
      <a:lt1>
        <a:srgbClr val="FFFFFF"/>
      </a:lt1>
      <a:dk2>
        <a:srgbClr val="260717"/>
      </a:dk2>
      <a:lt2>
        <a:srgbClr val="E3E2DA"/>
      </a:lt2>
      <a:accent1>
        <a:srgbClr val="FF0054"/>
      </a:accent1>
      <a:accent2>
        <a:srgbClr val="44B757"/>
      </a:accent2>
      <a:accent3>
        <a:srgbClr val="8661F5"/>
      </a:accent3>
      <a:accent4>
        <a:srgbClr val="E56813"/>
      </a:accent4>
      <a:accent5>
        <a:srgbClr val="00B0BD"/>
      </a:accent5>
      <a:accent6>
        <a:srgbClr val="EF659D"/>
      </a:accent6>
      <a:hlink>
        <a:srgbClr val="FF0054"/>
      </a:hlink>
      <a:folHlink>
        <a:srgbClr val="A40037"/>
      </a:folHlink>
    </a:clrScheme>
    <a:fontScheme name="Personalizado 4">
      <a:majorFont>
        <a:latin typeface="ForFuture Sans"/>
        <a:ea typeface=""/>
        <a:cs typeface=""/>
      </a:majorFont>
      <a:minorFont>
        <a:latin typeface="ForFuture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7312" rIns="0" bIns="0" rtlCol="0">
        <a:spAutoFit/>
      </a:bodyPr>
      <a:lstStyle>
        <a:defPPr marL="7696" algn="l">
          <a:spcBef>
            <a:spcPts val="600"/>
          </a:spcBef>
          <a:defRPr sz="1400" dirty="0" smtClean="0">
            <a:solidFill>
              <a:schemeClr val="tx2"/>
            </a:solidFill>
            <a:cs typeface="Trebuchet M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MINSAIT.potx" id="{8C9AA064-F6BB-49A0-B948-6EBD015E0CDF}" vid="{A1B96FE0-3D6A-4A57-8C50-A278C1B740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808e005-1489-4374-954b-d3b08f193920}" enabled="0" method="" siteId="{7808e005-1489-4374-954b-d3b08f19392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244</TotalTime>
  <Words>448</Words>
  <Application>Microsoft Office PowerPoint</Application>
  <PresentationFormat>Widescreen</PresentationFormat>
  <Paragraphs>1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orFuture Sans</vt:lpstr>
      <vt:lpstr>Trebuchet MS</vt:lpstr>
      <vt:lpstr>PORTADA</vt:lpstr>
      <vt:lpstr>CONTENIDO</vt:lpstr>
      <vt:lpstr>Diapositiva de think-cel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rcos González, Diego Antonio</dc:creator>
  <cp:lastModifiedBy>Oji Palino, Kalu</cp:lastModifiedBy>
  <cp:revision>8</cp:revision>
  <dcterms:created xsi:type="dcterms:W3CDTF">2024-11-26T12:08:15Z</dcterms:created>
  <dcterms:modified xsi:type="dcterms:W3CDTF">2025-02-17T11:29:25Z</dcterms:modified>
</cp:coreProperties>
</file>